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70" r:id="rId5"/>
  </p:sldMasterIdLst>
  <p:notesMasterIdLst>
    <p:notesMasterId r:id="rId22"/>
  </p:notesMasterIdLst>
  <p:sldIdLst>
    <p:sldId id="408" r:id="rId6"/>
    <p:sldId id="473" r:id="rId7"/>
    <p:sldId id="450" r:id="rId8"/>
    <p:sldId id="481" r:id="rId9"/>
    <p:sldId id="482" r:id="rId10"/>
    <p:sldId id="469" r:id="rId11"/>
    <p:sldId id="451" r:id="rId12"/>
    <p:sldId id="475" r:id="rId13"/>
    <p:sldId id="479" r:id="rId14"/>
    <p:sldId id="476" r:id="rId15"/>
    <p:sldId id="483" r:id="rId16"/>
    <p:sldId id="484" r:id="rId17"/>
    <p:sldId id="485" r:id="rId18"/>
    <p:sldId id="486" r:id="rId19"/>
    <p:sldId id="487" r:id="rId20"/>
    <p:sldId id="449" r:id="rId21"/>
  </p:sldIdLst>
  <p:sldSz cx="12192000" cy="6858000"/>
  <p:notesSz cx="6797675" cy="9926638"/>
  <p:defaultTextStyle>
    <a:defPPr>
      <a:defRPr lang="en-US"/>
    </a:defPPr>
    <a:lvl1pPr marL="0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1pPr>
    <a:lvl2pPr marL="565876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2pPr>
    <a:lvl3pPr marL="1131753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3pPr>
    <a:lvl4pPr marL="1697629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4pPr>
    <a:lvl5pPr marL="2263506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5pPr>
    <a:lvl6pPr marL="2829382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6pPr>
    <a:lvl7pPr marL="3395259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7pPr>
    <a:lvl8pPr marL="3961135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8pPr>
    <a:lvl9pPr marL="4527012" algn="l" defTabSz="565876" rtl="0" eaLnBrk="1" latinLnBrk="0" hangingPunct="1">
      <a:defRPr sz="222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650"/>
    <a:srgbClr val="280087"/>
    <a:srgbClr val="99127F"/>
    <a:srgbClr val="00B5AD"/>
    <a:srgbClr val="2843AE"/>
    <a:srgbClr val="F8EB29"/>
    <a:srgbClr val="E1E133"/>
    <a:srgbClr val="B2B2B2"/>
    <a:srgbClr val="535353"/>
    <a:srgbClr val="99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édio 4 - Destaqu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95" autoAdjust="0"/>
    <p:restoredTop sz="70197" autoAdjust="0"/>
  </p:normalViewPr>
  <p:slideViewPr>
    <p:cSldViewPr snapToGrid="0" snapToObjects="1">
      <p:cViewPr varScale="1">
        <p:scale>
          <a:sx n="50" d="100"/>
          <a:sy n="50" d="100"/>
        </p:scale>
        <p:origin x="1470" y="54"/>
      </p:cViewPr>
      <p:guideLst>
        <p:guide orient="horz" pos="2069"/>
        <p:guide pos="3863"/>
      </p:guideLst>
    </p:cSldViewPr>
  </p:slideViewPr>
  <p:outlineViewPr>
    <p:cViewPr>
      <p:scale>
        <a:sx n="33" d="100"/>
        <a:sy n="33" d="100"/>
      </p:scale>
      <p:origin x="0" y="1423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49" d="100"/>
        <a:sy n="149" d="100"/>
      </p:scale>
      <p:origin x="0" y="-7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34118999712556E-3"/>
          <c:y val="2.037617554858934E-2"/>
          <c:w val="0.98505317620005739"/>
          <c:h val="0.959247648902821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90EA8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DDDDDD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8A6-4BD9-A9F7-5550B7F137F1}"/>
              </c:ext>
            </c:extLst>
          </c:dPt>
          <c:dPt>
            <c:idx val="8"/>
            <c:invertIfNegative val="0"/>
            <c:bubble3D val="0"/>
            <c:spPr>
              <a:solidFill>
                <a:srgbClr val="DDDDDD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8A6-4BD9-A9F7-5550B7F137F1}"/>
              </c:ext>
            </c:extLst>
          </c:dPt>
          <c:dPt>
            <c:idx val="9"/>
            <c:invertIfNegative val="0"/>
            <c:bubble3D val="0"/>
            <c:spPr>
              <a:solidFill>
                <a:srgbClr val="DDDDDD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8A6-4BD9-A9F7-5550B7F137F1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259281080.1666667</c:v>
                </c:pt>
                <c:pt idx="1">
                  <c:v>1223369304</c:v>
                </c:pt>
                <c:pt idx="2">
                  <c:v>1079416866</c:v>
                </c:pt>
                <c:pt idx="3">
                  <c:v>1155272902</c:v>
                </c:pt>
                <c:pt idx="4">
                  <c:v>1039745611.7999997</c:v>
                </c:pt>
                <c:pt idx="5">
                  <c:v>577636450.99999964</c:v>
                </c:pt>
                <c:pt idx="6">
                  <c:v>231054580.39999974</c:v>
                </c:pt>
                <c:pt idx="7">
                  <c:v>3921445926</c:v>
                </c:pt>
                <c:pt idx="8">
                  <c:v>3921445926</c:v>
                </c:pt>
                <c:pt idx="9">
                  <c:v>3921445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A6-4BD9-A9F7-5550B7F137F1}"/>
            </c:ext>
          </c:extLst>
        </c:ser>
        <c:ser>
          <c:idx val="1"/>
          <c:order val="1"/>
          <c:spPr>
            <a:solidFill>
              <a:srgbClr val="DDDDDD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C90EA8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A8A6-4BD9-A9F7-5550B7F137F1}"/>
              </c:ext>
            </c:extLst>
          </c:dPt>
          <c:dPt>
            <c:idx val="8"/>
            <c:invertIfNegative val="0"/>
            <c:bubble3D val="0"/>
            <c:spPr>
              <a:solidFill>
                <a:srgbClr val="C90EA8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8A6-4BD9-A9F7-5550B7F137F1}"/>
              </c:ext>
            </c:extLst>
          </c:dPt>
          <c:dPt>
            <c:idx val="9"/>
            <c:invertIfNegative val="0"/>
            <c:bubble3D val="0"/>
            <c:spPr>
              <a:solidFill>
                <a:srgbClr val="C90EA8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A8A6-4BD9-A9F7-5550B7F137F1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0">
                  <c:v>3905344145.75</c:v>
                </c:pt>
                <c:pt idx="1">
                  <c:v>4328611023</c:v>
                </c:pt>
                <c:pt idx="2">
                  <c:v>3706345042</c:v>
                </c:pt>
                <c:pt idx="3">
                  <c:v>3921445926</c:v>
                </c:pt>
                <c:pt idx="4">
                  <c:v>3921445926.0000005</c:v>
                </c:pt>
                <c:pt idx="5">
                  <c:v>3921445926.0000005</c:v>
                </c:pt>
                <c:pt idx="6">
                  <c:v>3921445926.0000005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8A6-4BD9-A9F7-5550B7F13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9924752"/>
        <c:axId val="772256112"/>
      </c:barChart>
      <c:catAx>
        <c:axId val="739924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tx1"/>
            </a:solidFill>
            <a:prstDash val="solid"/>
          </a:ln>
        </c:spPr>
        <c:crossAx val="772256112"/>
        <c:crosses val="min"/>
        <c:auto val="0"/>
        <c:lblAlgn val="ctr"/>
        <c:lblOffset val="100"/>
        <c:noMultiLvlLbl val="0"/>
      </c:catAx>
      <c:valAx>
        <c:axId val="772256112"/>
        <c:scaling>
          <c:orientation val="minMax"/>
          <c:max val="55519803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9924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926406926407E-2"/>
          <c:y val="0.22836879432624116"/>
          <c:w val="0.97186147186147187"/>
          <c:h val="0.697872340425531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24113475177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892-4AD7-81F8-9A6BFDFD16F1}"/>
                </c:ext>
              </c:extLst>
            </c:dLbl>
            <c:dLbl>
              <c:idx val="1"/>
              <c:layout>
                <c:manualLayout>
                  <c:x val="0"/>
                  <c:y val="-0.417021276595744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892-4AD7-81F8-9A6BFDFD16F1}"/>
                </c:ext>
              </c:extLst>
            </c:dLbl>
            <c:dLbl>
              <c:idx val="2"/>
              <c:layout>
                <c:manualLayout>
                  <c:x val="0"/>
                  <c:y val="-0.38014184397163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892-4AD7-81F8-9A6BFDFD16F1}"/>
                </c:ext>
              </c:extLst>
            </c:dLbl>
            <c:dLbl>
              <c:idx val="3"/>
              <c:layout>
                <c:manualLayout>
                  <c:x val="0"/>
                  <c:y val="-0.333333333333333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892-4AD7-81F8-9A6BFDFD16F1}"/>
                </c:ext>
              </c:extLst>
            </c:dLbl>
            <c:dLbl>
              <c:idx val="4"/>
              <c:layout>
                <c:manualLayout>
                  <c:x val="0"/>
                  <c:y val="-0.286524822695035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892-4AD7-81F8-9A6BFDFD16F1}"/>
                </c:ext>
              </c:extLst>
            </c:dLbl>
            <c:dLbl>
              <c:idx val="5"/>
              <c:layout>
                <c:manualLayout>
                  <c:x val="0"/>
                  <c:y val="-0.245390070921985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892-4AD7-81F8-9A6BFDFD16F1}"/>
                </c:ext>
              </c:extLst>
            </c:dLbl>
            <c:dLbl>
              <c:idx val="6"/>
              <c:layout>
                <c:manualLayout>
                  <c:x val="0"/>
                  <c:y val="-0.228368794326241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892-4AD7-81F8-9A6BFDFD16F1}"/>
                </c:ext>
              </c:extLst>
            </c:dLbl>
            <c:dLbl>
              <c:idx val="7"/>
              <c:layout>
                <c:manualLayout>
                  <c:x val="0"/>
                  <c:y val="-0.218439716312056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892-4AD7-81F8-9A6BFDFD16F1}"/>
                </c:ext>
              </c:extLst>
            </c:dLbl>
            <c:dLbl>
              <c:idx val="8"/>
              <c:layout>
                <c:manualLayout>
                  <c:x val="0"/>
                  <c:y val="-0.201418439716312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892-4AD7-81F8-9A6BFDFD16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252.4044548286604</c:v>
                </c:pt>
                <c:pt idx="1">
                  <c:v>1089.6774855491328</c:v>
                </c:pt>
                <c:pt idx="2">
                  <c:v>959.88272727272738</c:v>
                </c:pt>
                <c:pt idx="3">
                  <c:v>789.40415697674428</c:v>
                </c:pt>
                <c:pt idx="4">
                  <c:v>621.48050347222238</c:v>
                </c:pt>
                <c:pt idx="5">
                  <c:v>475.77835555555566</c:v>
                </c:pt>
                <c:pt idx="6">
                  <c:v>416.1062868153042</c:v>
                </c:pt>
                <c:pt idx="7">
                  <c:v>379.81208157524622</c:v>
                </c:pt>
                <c:pt idx="8">
                  <c:v>316.92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92-4AD7-81F8-9A6BFDFD1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7962768"/>
        <c:axId val="847964944"/>
      </c:barChart>
      <c:catAx>
        <c:axId val="847962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7964944"/>
        <c:crosses val="min"/>
        <c:auto val="0"/>
        <c:lblAlgn val="ctr"/>
        <c:lblOffset val="100"/>
        <c:noMultiLvlLbl val="0"/>
      </c:catAx>
      <c:valAx>
        <c:axId val="847964944"/>
        <c:scaling>
          <c:orientation val="minMax"/>
          <c:max val="1252.40445482866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7962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18851435705374E-2"/>
          <c:y val="2.3518769787426504E-2"/>
          <c:w val="0.87016229712858928"/>
          <c:h val="0.952962460425146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2.281134401972873</c:v>
                </c:pt>
                <c:pt idx="1">
                  <c:v>33.651870119194413</c:v>
                </c:pt>
                <c:pt idx="2">
                  <c:v>21.167283189478013</c:v>
                </c:pt>
                <c:pt idx="3">
                  <c:v>8.579942457870942</c:v>
                </c:pt>
                <c:pt idx="4">
                  <c:v>8.6621454993834757</c:v>
                </c:pt>
                <c:pt idx="5">
                  <c:v>5.9391697492807234</c:v>
                </c:pt>
                <c:pt idx="6">
                  <c:v>3.6580353473078504</c:v>
                </c:pt>
                <c:pt idx="7">
                  <c:v>3.8327168105219891</c:v>
                </c:pt>
                <c:pt idx="8">
                  <c:v>2.2400328812166048</c:v>
                </c:pt>
                <c:pt idx="9">
                  <c:v>2.0448006576243323</c:v>
                </c:pt>
                <c:pt idx="10">
                  <c:v>1.7365392519523224</c:v>
                </c:pt>
                <c:pt idx="11">
                  <c:v>0.89395807644882863</c:v>
                </c:pt>
                <c:pt idx="12">
                  <c:v>3.1956432387998355</c:v>
                </c:pt>
                <c:pt idx="13">
                  <c:v>2.1167283189478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4D-4DAC-B63F-C74671ACE2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7966576"/>
        <c:axId val="847958960"/>
      </c:barChart>
      <c:catAx>
        <c:axId val="847966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7958960"/>
        <c:crosses val="min"/>
        <c:auto val="0"/>
        <c:lblAlgn val="ctr"/>
        <c:lblOffset val="100"/>
        <c:noMultiLvlLbl val="0"/>
      </c:catAx>
      <c:valAx>
        <c:axId val="847958960"/>
        <c:scaling>
          <c:orientation val="minMax"/>
          <c:max val="33.6518701191944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7966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926406926407E-2"/>
          <c:y val="0.22836879432624116"/>
          <c:w val="0.97186147186147187"/>
          <c:h val="0.697872340425531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24113475177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947-4510-BA28-302511D749C9}"/>
                </c:ext>
              </c:extLst>
            </c:dLbl>
            <c:dLbl>
              <c:idx val="1"/>
              <c:layout>
                <c:manualLayout>
                  <c:x val="0"/>
                  <c:y val="-0.4297872340425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947-4510-BA28-302511D749C9}"/>
                </c:ext>
              </c:extLst>
            </c:dLbl>
            <c:dLbl>
              <c:idx val="2"/>
              <c:layout>
                <c:manualLayout>
                  <c:x val="0"/>
                  <c:y val="-0.398581560283687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947-4510-BA28-302511D749C9}"/>
                </c:ext>
              </c:extLst>
            </c:dLbl>
            <c:dLbl>
              <c:idx val="3"/>
              <c:layout>
                <c:manualLayout>
                  <c:x val="0"/>
                  <c:y val="-0.356028368794326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947-4510-BA28-302511D749C9}"/>
                </c:ext>
              </c:extLst>
            </c:dLbl>
            <c:dLbl>
              <c:idx val="4"/>
              <c:layout>
                <c:manualLayout>
                  <c:x val="0"/>
                  <c:y val="-0.312056737588652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947-4510-BA28-302511D749C9}"/>
                </c:ext>
              </c:extLst>
            </c:dLbl>
            <c:dLbl>
              <c:idx val="5"/>
              <c:layout>
                <c:manualLayout>
                  <c:x val="0"/>
                  <c:y val="-0.2723404255319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947-4510-BA28-302511D749C9}"/>
                </c:ext>
              </c:extLst>
            </c:dLbl>
            <c:dLbl>
              <c:idx val="6"/>
              <c:layout>
                <c:manualLayout>
                  <c:x val="0"/>
                  <c:y val="-0.238297872340425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947-4510-BA28-302511D749C9}"/>
                </c:ext>
              </c:extLst>
            </c:dLbl>
            <c:dLbl>
              <c:idx val="7"/>
              <c:layout>
                <c:manualLayout>
                  <c:x val="0"/>
                  <c:y val="-0.226950354609929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947-4510-BA28-302511D749C9}"/>
                </c:ext>
              </c:extLst>
            </c:dLbl>
            <c:dLbl>
              <c:idx val="8"/>
              <c:layout>
                <c:manualLayout>
                  <c:x val="0"/>
                  <c:y val="-0.224113475177304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947-4510-BA28-302511D749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955.78601005399389</c:v>
                </c:pt>
                <c:pt idx="1">
                  <c:v>866.90003723764448</c:v>
                </c:pt>
                <c:pt idx="2">
                  <c:v>782.00625993454901</c:v>
                </c:pt>
                <c:pt idx="3">
                  <c:v>663.8630303030302</c:v>
                </c:pt>
                <c:pt idx="4">
                  <c:v>544.70544989775033</c:v>
                </c:pt>
                <c:pt idx="5">
                  <c:v>434.197076716016</c:v>
                </c:pt>
                <c:pt idx="6">
                  <c:v>341.68192912912889</c:v>
                </c:pt>
                <c:pt idx="7">
                  <c:v>310.84197766468765</c:v>
                </c:pt>
                <c:pt idx="8">
                  <c:v>302.73637326635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947-4510-BA28-302511D749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62272"/>
        <c:axId val="842664992"/>
      </c:barChart>
      <c:catAx>
        <c:axId val="842662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64992"/>
        <c:crosses val="min"/>
        <c:auto val="0"/>
        <c:lblAlgn val="ctr"/>
        <c:lblOffset val="100"/>
        <c:noMultiLvlLbl val="0"/>
      </c:catAx>
      <c:valAx>
        <c:axId val="842664992"/>
        <c:scaling>
          <c:orientation val="minMax"/>
          <c:max val="955.7860100539938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2662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18851435705374E-2"/>
          <c:y val="2.3518769787426504E-2"/>
          <c:w val="0.87016229712858928"/>
          <c:h val="0.952962460425146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14.263480095458792</c:v>
                </c:pt>
                <c:pt idx="1">
                  <c:v>28.758689862691522</c:v>
                </c:pt>
                <c:pt idx="2">
                  <c:v>18.763186110054299</c:v>
                </c:pt>
                <c:pt idx="3">
                  <c:v>10.344827586206897</c:v>
                </c:pt>
                <c:pt idx="4">
                  <c:v>4.4097810673399511</c:v>
                </c:pt>
                <c:pt idx="5">
                  <c:v>4.3025628609967832</c:v>
                </c:pt>
                <c:pt idx="6">
                  <c:v>4.0518106042264721</c:v>
                </c:pt>
                <c:pt idx="7">
                  <c:v>2.9069968526268459</c:v>
                </c:pt>
                <c:pt idx="8">
                  <c:v>1.5391000587970809</c:v>
                </c:pt>
                <c:pt idx="9">
                  <c:v>2.2861688513817313</c:v>
                </c:pt>
                <c:pt idx="10">
                  <c:v>3.060906858506554</c:v>
                </c:pt>
                <c:pt idx="11">
                  <c:v>2.1426348009545881</c:v>
                </c:pt>
                <c:pt idx="12">
                  <c:v>0.83180576211392787</c:v>
                </c:pt>
                <c:pt idx="13">
                  <c:v>2.3380486286445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A7-455E-8311-E5D9876D1D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56288"/>
        <c:axId val="842661728"/>
      </c:barChart>
      <c:catAx>
        <c:axId val="8426562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61728"/>
        <c:crosses val="min"/>
        <c:auto val="0"/>
        <c:lblAlgn val="ctr"/>
        <c:lblOffset val="100"/>
        <c:noMultiLvlLbl val="0"/>
      </c:catAx>
      <c:valAx>
        <c:axId val="842661728"/>
        <c:scaling>
          <c:orientation val="minMax"/>
          <c:max val="28.75868986269152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2656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926406926407E-2"/>
          <c:y val="0.22836879432624116"/>
          <c:w val="0.97186147186147187"/>
          <c:h val="0.697872340425531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24113475177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9D-4AF3-BD30-D6A19C7324A3}"/>
                </c:ext>
              </c:extLst>
            </c:dLbl>
            <c:dLbl>
              <c:idx val="1"/>
              <c:layout>
                <c:manualLayout>
                  <c:x val="0"/>
                  <c:y val="-0.402836879432624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9D-4AF3-BD30-D6A19C7324A3}"/>
                </c:ext>
              </c:extLst>
            </c:dLbl>
            <c:dLbl>
              <c:idx val="2"/>
              <c:layout>
                <c:manualLayout>
                  <c:x val="0"/>
                  <c:y val="-0.37304964539007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9D-4AF3-BD30-D6A19C7324A3}"/>
                </c:ext>
              </c:extLst>
            </c:dLbl>
            <c:dLbl>
              <c:idx val="3"/>
              <c:layout>
                <c:manualLayout>
                  <c:x val="0"/>
                  <c:y val="-0.32198581560283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B9D-4AF3-BD30-D6A19C7324A3}"/>
                </c:ext>
              </c:extLst>
            </c:dLbl>
            <c:dLbl>
              <c:idx val="4"/>
              <c:layout>
                <c:manualLayout>
                  <c:x val="0"/>
                  <c:y val="-0.275177304964539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B9D-4AF3-BD30-D6A19C7324A3}"/>
                </c:ext>
              </c:extLst>
            </c:dLbl>
            <c:dLbl>
              <c:idx val="5"/>
              <c:layout>
                <c:manualLayout>
                  <c:x val="0"/>
                  <c:y val="-0.273758865248226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B9D-4AF3-BD30-D6A19C7324A3}"/>
                </c:ext>
              </c:extLst>
            </c:dLbl>
            <c:dLbl>
              <c:idx val="6"/>
              <c:layout>
                <c:manualLayout>
                  <c:x val="0"/>
                  <c:y val="-0.268085106382978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B9D-4AF3-BD30-D6A19C7324A3}"/>
                </c:ext>
              </c:extLst>
            </c:dLbl>
            <c:dLbl>
              <c:idx val="7"/>
              <c:layout>
                <c:manualLayout>
                  <c:x val="0"/>
                  <c:y val="-0.266666666666666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B9D-4AF3-BD30-D6A19C7324A3}"/>
                </c:ext>
              </c:extLst>
            </c:dLbl>
            <c:dLbl>
              <c:idx val="8"/>
              <c:layout>
                <c:manualLayout>
                  <c:x val="0"/>
                  <c:y val="-0.238297872340425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B9D-4AF3-BD30-D6A19C7324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974.65591685120307</c:v>
                </c:pt>
                <c:pt idx="1">
                  <c:v>808.95509496949376</c:v>
                </c:pt>
                <c:pt idx="2">
                  <c:v>725.13383640913355</c:v>
                </c:pt>
                <c:pt idx="3">
                  <c:v>584.53850959232659</c:v>
                </c:pt>
                <c:pt idx="4">
                  <c:v>453.99185728250262</c:v>
                </c:pt>
                <c:pt idx="5">
                  <c:v>448.84294988369658</c:v>
                </c:pt>
                <c:pt idx="6">
                  <c:v>434.72891327509052</c:v>
                </c:pt>
                <c:pt idx="7">
                  <c:v>427.74620074547391</c:v>
                </c:pt>
                <c:pt idx="8">
                  <c:v>350.5365644811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B9D-4AF3-BD30-D6A19C7324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65536"/>
        <c:axId val="842660640"/>
      </c:barChart>
      <c:catAx>
        <c:axId val="842665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60640"/>
        <c:crosses val="min"/>
        <c:auto val="0"/>
        <c:lblAlgn val="ctr"/>
        <c:lblOffset val="100"/>
        <c:noMultiLvlLbl val="0"/>
      </c:catAx>
      <c:valAx>
        <c:axId val="842660640"/>
        <c:scaling>
          <c:orientation val="minMax"/>
          <c:max val="974.655916851203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2665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18851435705374E-2"/>
          <c:y val="2.3518769787426504E-2"/>
          <c:w val="0.87016229712858928"/>
          <c:h val="0.952962460425146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11.403981634663642</c:v>
                </c:pt>
                <c:pt idx="1">
                  <c:v>15.952562410543338</c:v>
                </c:pt>
                <c:pt idx="2">
                  <c:v>18.282617989850735</c:v>
                </c:pt>
                <c:pt idx="3">
                  <c:v>12.007175121289292</c:v>
                </c:pt>
                <c:pt idx="4">
                  <c:v>10.626057215086343</c:v>
                </c:pt>
                <c:pt idx="5">
                  <c:v>6.7355056973437177</c:v>
                </c:pt>
                <c:pt idx="6">
                  <c:v>5.1750097589084891</c:v>
                </c:pt>
                <c:pt idx="7">
                  <c:v>3.8087625704035539</c:v>
                </c:pt>
                <c:pt idx="8">
                  <c:v>3.0066732345669833</c:v>
                </c:pt>
                <c:pt idx="9">
                  <c:v>2.7176236593118572</c:v>
                </c:pt>
                <c:pt idx="10">
                  <c:v>2.1794895626150157</c:v>
                </c:pt>
                <c:pt idx="11">
                  <c:v>2.6534936892391769</c:v>
                </c:pt>
                <c:pt idx="12">
                  <c:v>1.3634589289365577</c:v>
                </c:pt>
                <c:pt idx="13">
                  <c:v>4.0875885272412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A7-447A-89BF-6C1E0AC89D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62816"/>
        <c:axId val="842666080"/>
      </c:barChart>
      <c:catAx>
        <c:axId val="8426628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66080"/>
        <c:crosses val="min"/>
        <c:auto val="0"/>
        <c:lblAlgn val="ctr"/>
        <c:lblOffset val="100"/>
        <c:noMultiLvlLbl val="0"/>
      </c:catAx>
      <c:valAx>
        <c:axId val="842666080"/>
        <c:scaling>
          <c:orientation val="minMax"/>
          <c:max val="18.2826179898507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2662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926406926407E-2"/>
          <c:y val="0.22836879432624116"/>
          <c:w val="0.97186147186147187"/>
          <c:h val="0.697872340425531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24113475177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04-4E8B-9DE0-B438623A5836}"/>
                </c:ext>
              </c:extLst>
            </c:dLbl>
            <c:dLbl>
              <c:idx val="1"/>
              <c:layout>
                <c:manualLayout>
                  <c:x val="0"/>
                  <c:y val="-0.38297872340425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04-4E8B-9DE0-B438623A5836}"/>
                </c:ext>
              </c:extLst>
            </c:dLbl>
            <c:dLbl>
              <c:idx val="2"/>
              <c:layout>
                <c:manualLayout>
                  <c:x val="0"/>
                  <c:y val="-0.358865248226950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404-4E8B-9DE0-B438623A5836}"/>
                </c:ext>
              </c:extLst>
            </c:dLbl>
            <c:dLbl>
              <c:idx val="3"/>
              <c:layout>
                <c:manualLayout>
                  <c:x val="0"/>
                  <c:y val="-0.32056737588652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404-4E8B-9DE0-B438623A5836}"/>
                </c:ext>
              </c:extLst>
            </c:dLbl>
            <c:dLbl>
              <c:idx val="4"/>
              <c:layout>
                <c:manualLayout>
                  <c:x val="0"/>
                  <c:y val="-0.259574468085106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404-4E8B-9DE0-B438623A5836}"/>
                </c:ext>
              </c:extLst>
            </c:dLbl>
            <c:dLbl>
              <c:idx val="5"/>
              <c:layout>
                <c:manualLayout>
                  <c:x val="0"/>
                  <c:y val="-0.231205673758865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404-4E8B-9DE0-B438623A5836}"/>
                </c:ext>
              </c:extLst>
            </c:dLbl>
            <c:dLbl>
              <c:idx val="6"/>
              <c:layout>
                <c:manualLayout>
                  <c:x val="0"/>
                  <c:y val="-0.231205673758865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404-4E8B-9DE0-B438623A5836}"/>
                </c:ext>
              </c:extLst>
            </c:dLbl>
            <c:dLbl>
              <c:idx val="7"/>
              <c:layout>
                <c:manualLayout>
                  <c:x val="0"/>
                  <c:y val="-0.231205673758865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404-4E8B-9DE0-B438623A5836}"/>
                </c:ext>
              </c:extLst>
            </c:dLbl>
            <c:dLbl>
              <c:idx val="8"/>
              <c:layout>
                <c:manualLayout>
                  <c:x val="0"/>
                  <c:y val="-0.228368794326241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404-4E8B-9DE0-B438623A58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097.1986239281339</c:v>
                </c:pt>
                <c:pt idx="1">
                  <c:v>850.00519318181841</c:v>
                </c:pt>
                <c:pt idx="2">
                  <c:v>770.49867461430586</c:v>
                </c:pt>
                <c:pt idx="3">
                  <c:v>653.37321622958927</c:v>
                </c:pt>
                <c:pt idx="4">
                  <c:v>458.40519637462234</c:v>
                </c:pt>
                <c:pt idx="5">
                  <c:v>372.94180390788546</c:v>
                </c:pt>
                <c:pt idx="6">
                  <c:v>371.72640555163491</c:v>
                </c:pt>
                <c:pt idx="7">
                  <c:v>370.333194980695</c:v>
                </c:pt>
                <c:pt idx="8">
                  <c:v>360.5071980440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404-4E8B-9DE0-B438623A58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63904"/>
        <c:axId val="842659008"/>
      </c:barChart>
      <c:catAx>
        <c:axId val="842663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59008"/>
        <c:crosses val="min"/>
        <c:auto val="0"/>
        <c:lblAlgn val="ctr"/>
        <c:lblOffset val="100"/>
        <c:noMultiLvlLbl val="0"/>
      </c:catAx>
      <c:valAx>
        <c:axId val="842659008"/>
        <c:scaling>
          <c:orientation val="minMax"/>
          <c:max val="1097.19862392813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2663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18851435705374E-2"/>
          <c:y val="2.3518769787426504E-2"/>
          <c:w val="0.87016229712858928"/>
          <c:h val="0.952962460425146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13.63356845722554</c:v>
                </c:pt>
                <c:pt idx="1">
                  <c:v>23.223005968529574</c:v>
                </c:pt>
                <c:pt idx="2">
                  <c:v>13.232049195152831</c:v>
                </c:pt>
                <c:pt idx="3">
                  <c:v>9.7015735214324472</c:v>
                </c:pt>
                <c:pt idx="4">
                  <c:v>10.095858202206548</c:v>
                </c:pt>
                <c:pt idx="5">
                  <c:v>5.2703924760354495</c:v>
                </c:pt>
                <c:pt idx="6">
                  <c:v>5.9178875022608066</c:v>
                </c:pt>
                <c:pt idx="7">
                  <c:v>5.2631578947368416</c:v>
                </c:pt>
                <c:pt idx="8">
                  <c:v>4.007958039428468</c:v>
                </c:pt>
                <c:pt idx="9">
                  <c:v>1.8809911376379094</c:v>
                </c:pt>
                <c:pt idx="10">
                  <c:v>1.5120274914089347</c:v>
                </c:pt>
                <c:pt idx="11">
                  <c:v>2.3584735033459938</c:v>
                </c:pt>
                <c:pt idx="12">
                  <c:v>0.75601374570446733</c:v>
                </c:pt>
                <c:pt idx="13">
                  <c:v>3.1470428648941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76-4706-BD90-8E658ADA2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69344"/>
        <c:axId val="842654112"/>
      </c:barChart>
      <c:catAx>
        <c:axId val="8426693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54112"/>
        <c:crosses val="min"/>
        <c:auto val="0"/>
        <c:lblAlgn val="ctr"/>
        <c:lblOffset val="100"/>
        <c:noMultiLvlLbl val="0"/>
      </c:catAx>
      <c:valAx>
        <c:axId val="842654112"/>
        <c:scaling>
          <c:orientation val="minMax"/>
          <c:max val="23.22300596852957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2669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926406926407E-2"/>
          <c:y val="0.22836879432624116"/>
          <c:w val="0.97186147186147187"/>
          <c:h val="0.697872340425531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24113475177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29-4E35-B4C9-1AF559982697}"/>
                </c:ext>
              </c:extLst>
            </c:dLbl>
            <c:dLbl>
              <c:idx val="1"/>
              <c:layout>
                <c:manualLayout>
                  <c:x val="0"/>
                  <c:y val="-0.419858156028368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29-4E35-B4C9-1AF559982697}"/>
                </c:ext>
              </c:extLst>
            </c:dLbl>
            <c:dLbl>
              <c:idx val="2"/>
              <c:layout>
                <c:manualLayout>
                  <c:x val="0"/>
                  <c:y val="-0.358865248226950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29-4E35-B4C9-1AF559982697}"/>
                </c:ext>
              </c:extLst>
            </c:dLbl>
            <c:dLbl>
              <c:idx val="3"/>
              <c:layout>
                <c:manualLayout>
                  <c:x val="0"/>
                  <c:y val="-0.350354609929078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29-4E35-B4C9-1AF559982697}"/>
                </c:ext>
              </c:extLst>
            </c:dLbl>
            <c:dLbl>
              <c:idx val="4"/>
              <c:layout>
                <c:manualLayout>
                  <c:x val="0"/>
                  <c:y val="-0.293617021276595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29-4E35-B4C9-1AF559982697}"/>
                </c:ext>
              </c:extLst>
            </c:dLbl>
            <c:dLbl>
              <c:idx val="5"/>
              <c:layout>
                <c:manualLayout>
                  <c:x val="0"/>
                  <c:y val="-0.258156028368794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29-4E35-B4C9-1AF559982697}"/>
                </c:ext>
              </c:extLst>
            </c:dLbl>
            <c:dLbl>
              <c:idx val="6"/>
              <c:layout>
                <c:manualLayout>
                  <c:x val="0"/>
                  <c:y val="-0.238297872340425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29-4E35-B4C9-1AF559982697}"/>
                </c:ext>
              </c:extLst>
            </c:dLbl>
            <c:dLbl>
              <c:idx val="7"/>
              <c:layout>
                <c:manualLayout>
                  <c:x val="0"/>
                  <c:y val="-0.19716312056737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629-4E35-B4C9-1AF559982697}"/>
                </c:ext>
              </c:extLst>
            </c:dLbl>
            <c:dLbl>
              <c:idx val="8"/>
              <c:layout>
                <c:manualLayout>
                  <c:x val="0"/>
                  <c:y val="-0.205673758865248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629-4E35-B4C9-1AF5599826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43.02374907063222</c:v>
                </c:pt>
                <c:pt idx="1">
                  <c:v>741.83856756756791</c:v>
                </c:pt>
                <c:pt idx="2">
                  <c:v>594.7678516174401</c:v>
                </c:pt>
                <c:pt idx="3">
                  <c:v>571.92657630216263</c:v>
                </c:pt>
                <c:pt idx="4">
                  <c:v>435.5333646837525</c:v>
                </c:pt>
                <c:pt idx="5">
                  <c:v>351.18129728289813</c:v>
                </c:pt>
                <c:pt idx="6">
                  <c:v>301.773593700032</c:v>
                </c:pt>
                <c:pt idx="7">
                  <c:v>204.59166315345706</c:v>
                </c:pt>
                <c:pt idx="8">
                  <c:v>224.27881240310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629-4E35-B4C9-1AF5599826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655744"/>
        <c:axId val="842656832"/>
      </c:barChart>
      <c:catAx>
        <c:axId val="842655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2656832"/>
        <c:crosses val="min"/>
        <c:auto val="0"/>
        <c:lblAlgn val="ctr"/>
        <c:lblOffset val="100"/>
        <c:noMultiLvlLbl val="0"/>
      </c:catAx>
      <c:valAx>
        <c:axId val="842656832"/>
        <c:scaling>
          <c:orientation val="minMax"/>
          <c:max val="843.023749070632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2655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18851435705374E-2"/>
          <c:y val="2.3518769787426504E-2"/>
          <c:w val="0.87016229712858928"/>
          <c:h val="0.952962460425146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25.468537212771015</c:v>
                </c:pt>
                <c:pt idx="1">
                  <c:v>20.185469401871988</c:v>
                </c:pt>
                <c:pt idx="2">
                  <c:v>13.190376342923846</c:v>
                </c:pt>
                <c:pt idx="3">
                  <c:v>9.6128488359525299</c:v>
                </c:pt>
                <c:pt idx="4">
                  <c:v>7.7170835044638038</c:v>
                </c:pt>
                <c:pt idx="5">
                  <c:v>5.7002658827089778</c:v>
                </c:pt>
                <c:pt idx="6">
                  <c:v>6.7724433107801394</c:v>
                </c:pt>
                <c:pt idx="7">
                  <c:v>4.0206653552668552</c:v>
                </c:pt>
                <c:pt idx="8">
                  <c:v>2.3929443807959188</c:v>
                </c:pt>
                <c:pt idx="9">
                  <c:v>1.7898445775058904</c:v>
                </c:pt>
                <c:pt idx="10">
                  <c:v>0.48853245714532761</c:v>
                </c:pt>
                <c:pt idx="11">
                  <c:v>1.4677590194764489</c:v>
                </c:pt>
                <c:pt idx="12">
                  <c:v>0.75225351808218588</c:v>
                </c:pt>
                <c:pt idx="13">
                  <c:v>0.44097620025507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AC-4D64-953C-A69F66E7DD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7956784"/>
        <c:axId val="847963856"/>
      </c:barChart>
      <c:catAx>
        <c:axId val="8479567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47963856"/>
        <c:crosses val="min"/>
        <c:auto val="0"/>
        <c:lblAlgn val="ctr"/>
        <c:lblOffset val="100"/>
        <c:noMultiLvlLbl val="0"/>
      </c:catAx>
      <c:valAx>
        <c:axId val="847963856"/>
        <c:scaling>
          <c:orientation val="minMax"/>
          <c:max val="25.46853721277101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7956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EA0FBB-63D4-421E-A966-D93A64CD1ABE}" type="datetimeFigureOut">
              <a:rPr lang="pt-BR" smtClean="0"/>
              <a:t>06/06/2019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5C6AEF-2CD5-4678-A7B0-D7F5A09CDCF1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27023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1pPr>
    <a:lvl2pPr marL="565876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2pPr>
    <a:lvl3pPr marL="1131753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3pPr>
    <a:lvl4pPr marL="1697629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4pPr>
    <a:lvl5pPr marL="2263506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5pPr>
    <a:lvl6pPr marL="2829382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6pPr>
    <a:lvl7pPr marL="3395259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7pPr>
    <a:lvl8pPr marL="3961135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8pPr>
    <a:lvl9pPr marL="4527012" algn="l" defTabSz="1131753" rtl="0" eaLnBrk="1" latinLnBrk="0" hangingPunct="1">
      <a:defRPr sz="148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210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3" name="Shape 1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27946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7055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i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322171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372143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374058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563052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01296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8883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="1" u="none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1367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pt-BR" b="0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761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485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515745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pt-BR" sz="1485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328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485" b="1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711383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2521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317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b="1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C6AEF-2CD5-4678-A7B0-D7F5A09CDCF1}" type="slidenum">
              <a:rPr lang="pt-BR" smtClean="0"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519685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ü"/>
            </a:pP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C6AEF-2CD5-4678-A7B0-D7F5A09CDCF1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65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011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2" y="-38864"/>
            <a:ext cx="12321902" cy="693107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6984" y="736969"/>
            <a:ext cx="4778308" cy="4311974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1241787" y="2878667"/>
            <a:ext cx="479995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189158" y="738951"/>
            <a:ext cx="2133601" cy="495748"/>
          </a:xfrm>
          <a:prstGeom prst="rect">
            <a:avLst/>
          </a:prstGeom>
        </p:spPr>
      </p:pic>
      <p:sp>
        <p:nvSpPr>
          <p:cNvPr id="3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66187" y="951402"/>
            <a:ext cx="4329904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Write the</a:t>
            </a:r>
            <a:br>
              <a:rPr lang="x-none" dirty="0"/>
            </a:br>
            <a:r>
              <a:rPr lang="x-none" dirty="0"/>
              <a:t>Presentation</a:t>
            </a:r>
            <a:br>
              <a:rPr lang="x-none" dirty="0"/>
            </a:br>
            <a:r>
              <a:rPr lang="x-none" dirty="0"/>
              <a:t>Title here 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1103820" y="3078059"/>
            <a:ext cx="4292276" cy="88302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Write here the description</a:t>
            </a:r>
            <a:br>
              <a:rPr lang="x-none" dirty="0"/>
            </a:br>
            <a:r>
              <a:rPr lang="x-none" dirty="0"/>
              <a:t>or presentation information 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1103824" y="3961076"/>
            <a:ext cx="2910015" cy="3211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Responsible Name – 10pt bold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1103823" y="4199699"/>
            <a:ext cx="2910015" cy="3535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Management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013839" y="4213841"/>
            <a:ext cx="1382261" cy="270956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mm/dd//yy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13934" y="6491112"/>
            <a:ext cx="11401774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25345" y="271107"/>
            <a:ext cx="890367" cy="204455"/>
          </a:xfrm>
          <a:prstGeom prst="rect">
            <a:avLst/>
          </a:prstGeom>
        </p:spPr>
      </p:pic>
      <p:sp>
        <p:nvSpPr>
          <p:cNvPr id="11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6" y="2108284"/>
            <a:ext cx="10159987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x-none" dirty="0"/>
              <a:t>Write here the</a:t>
            </a:r>
            <a:br>
              <a:rPr lang="x-none" dirty="0"/>
            </a:br>
            <a:r>
              <a:rPr lang="x-none" dirty="0"/>
              <a:t>content slide subtitle</a:t>
            </a:r>
            <a:br>
              <a:rPr lang="x-none" dirty="0"/>
            </a:br>
            <a:r>
              <a:rPr lang="x-none" dirty="0"/>
              <a:t>or a highlight info. – 24pt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577016" y="514216"/>
            <a:ext cx="10159987" cy="12920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2pt bold</a:t>
            </a:r>
            <a:endParaRPr lang="en-US" dirty="0"/>
          </a:p>
        </p:txBody>
      </p:sp>
      <p:sp>
        <p:nvSpPr>
          <p:cNvPr id="20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10502421" y="6480904"/>
            <a:ext cx="1397313" cy="29052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Page number – 8pt</a:t>
            </a:r>
            <a:endParaRPr lang="en-US" dirty="0"/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1016006" y="3996706"/>
            <a:ext cx="10159987" cy="224981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851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aculis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ligula id dui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Proin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. Integer mi </a:t>
            </a:r>
            <a:r>
              <a:rPr lang="en-US" dirty="0" err="1"/>
              <a:t>tellus</a:t>
            </a:r>
            <a:r>
              <a:rPr lang="en-US" dirty="0"/>
              <a:t>, </a:t>
            </a:r>
            <a:r>
              <a:rPr lang="en-US" dirty="0" err="1"/>
              <a:t>finibus</a:t>
            </a:r>
            <a:r>
              <a:rPr lang="en-US" dirty="0"/>
              <a:t> non </a:t>
            </a:r>
            <a:r>
              <a:rPr lang="en-US" dirty="0" err="1"/>
              <a:t>ultricies</a:t>
            </a:r>
            <a:r>
              <a:rPr lang="en-US" dirty="0"/>
              <a:t> vitae,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diam. Integer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est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dolor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In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finibus</a:t>
            </a:r>
            <a:r>
              <a:rPr lang="en-US" dirty="0"/>
              <a:t>,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Integer in magna at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</a:t>
            </a:r>
            <a:r>
              <a:rPr lang="en-US" dirty="0" err="1"/>
              <a:t>ultricies</a:t>
            </a:r>
            <a:r>
              <a:rPr lang="en-US" dirty="0"/>
              <a:t> at nisi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cursus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a </a:t>
            </a:r>
            <a:r>
              <a:rPr lang="en-US" dirty="0" err="1"/>
              <a:t>moll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. Integer </a:t>
            </a:r>
            <a:r>
              <a:rPr lang="en-US" dirty="0" err="1"/>
              <a:t>pellentesque</a:t>
            </a:r>
            <a:r>
              <a:rPr lang="en-US" dirty="0"/>
              <a:t> ex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lacus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– 8.5pt</a:t>
            </a:r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318622" y="6491124"/>
            <a:ext cx="8744481" cy="2803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50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4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78" y="6491113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5" y="43064"/>
            <a:ext cx="890366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78" y="247515"/>
            <a:ext cx="11904443" cy="806223"/>
          </a:xfrm>
          <a:prstGeom prst="rect">
            <a:avLst/>
          </a:prstGeom>
        </p:spPr>
        <p:txBody>
          <a:bodyPr vert="horz"/>
          <a:lstStyle>
            <a:lvl1pPr marL="0" marR="0" indent="0" algn="l" defTabSz="527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906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682" y="6491113"/>
            <a:ext cx="5492679" cy="28032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80000"/>
              </a:lnSpc>
              <a:buNone/>
              <a:defRPr sz="924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2" y="6491116"/>
            <a:ext cx="552587" cy="29280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r" defTabSz="7917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49707FF1-3E8F-4BDD-A41F-CA7D070382DC}" type="slidenum">
              <a:rPr kumimoji="0" lang="pt-BR" sz="924" b="0" i="0" u="none" strike="noStrike" kern="1200" cap="none" spc="0" normalizeH="0" baseline="0" noProof="0">
                <a:ln>
                  <a:noFill/>
                </a:ln>
                <a:solidFill>
                  <a:srgbClr val="28008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79177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º›</a:t>
            </a:fld>
            <a:endParaRPr kumimoji="0" lang="pt-BR" sz="924" b="0" i="0" u="none" strike="noStrike" kern="1200" cap="none" spc="0" normalizeH="0" baseline="0" noProof="0" dirty="0">
              <a:ln>
                <a:noFill/>
              </a:ln>
              <a:solidFill>
                <a:srgbClr val="28008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4" y="6491113"/>
            <a:ext cx="5066327" cy="28032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80000"/>
              </a:lnSpc>
              <a:buNone/>
              <a:defRPr sz="924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4453041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80" y="6491112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7" y="43089"/>
            <a:ext cx="890365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80" y="247535"/>
            <a:ext cx="11904443" cy="806223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marR="0" indent="0" algn="l" defTabSz="5268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67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706" y="6491118"/>
            <a:ext cx="5492679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7" y="6491116"/>
            <a:ext cx="552587" cy="292800"/>
          </a:xfrm>
          <a:prstGeom prst="rect">
            <a:avLst/>
          </a:prstGeom>
        </p:spPr>
        <p:txBody>
          <a:bodyPr vert="horz" lIns="79028" tIns="39511" rIns="79028" bIns="39511"/>
          <a:lstStyle/>
          <a:p>
            <a:pPr algn="r" defTabSz="790256">
              <a:spcBef>
                <a:spcPct val="20000"/>
              </a:spcBef>
              <a:buFont typeface="Arial"/>
              <a:buNone/>
            </a:pPr>
            <a:fld id="{49707FF1-3E8F-4BDD-A41F-CA7D070382DC}" type="slidenum">
              <a:rPr lang="pt-BR" sz="800">
                <a:solidFill>
                  <a:srgbClr val="280087"/>
                </a:solidFill>
              </a:rPr>
              <a:pPr algn="r" defTabSz="790256">
                <a:spcBef>
                  <a:spcPct val="20000"/>
                </a:spcBef>
                <a:buFont typeface="Arial"/>
                <a:buNone/>
              </a:pPr>
              <a:t>‹nº›</a:t>
            </a:fld>
            <a:endParaRPr lang="pt-BR" sz="800" dirty="0">
              <a:solidFill>
                <a:srgbClr val="280087"/>
              </a:solidFill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9" y="6491118"/>
            <a:ext cx="5066327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 algn="r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12703041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80" y="6491112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7" y="43089"/>
            <a:ext cx="890365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80" y="247535"/>
            <a:ext cx="11904443" cy="806223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marR="0" indent="0" algn="l" defTabSz="5268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67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706" y="6491118"/>
            <a:ext cx="5492679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7" y="6491116"/>
            <a:ext cx="552587" cy="292800"/>
          </a:xfrm>
          <a:prstGeom prst="rect">
            <a:avLst/>
          </a:prstGeom>
        </p:spPr>
        <p:txBody>
          <a:bodyPr vert="horz" lIns="79028" tIns="39511" rIns="79028" bIns="39511"/>
          <a:lstStyle/>
          <a:p>
            <a:pPr algn="r" defTabSz="790256">
              <a:spcBef>
                <a:spcPct val="20000"/>
              </a:spcBef>
              <a:buFont typeface="Arial"/>
              <a:buNone/>
            </a:pPr>
            <a:fld id="{49707FF1-3E8F-4BDD-A41F-CA7D070382DC}" type="slidenum">
              <a:rPr lang="pt-BR" sz="800">
                <a:solidFill>
                  <a:srgbClr val="280087"/>
                </a:solidFill>
              </a:rPr>
              <a:pPr algn="r" defTabSz="790256">
                <a:spcBef>
                  <a:spcPct val="20000"/>
                </a:spcBef>
                <a:buFont typeface="Arial"/>
                <a:buNone/>
              </a:pPr>
              <a:t>‹nº›</a:t>
            </a:fld>
            <a:endParaRPr lang="pt-BR" sz="800" dirty="0">
              <a:solidFill>
                <a:srgbClr val="280087"/>
              </a:solidFill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9" y="6491118"/>
            <a:ext cx="5066327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 algn="r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6703939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80" y="6491112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7" y="43089"/>
            <a:ext cx="890365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80" y="247535"/>
            <a:ext cx="11904443" cy="806223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marR="0" indent="0" algn="l" defTabSz="5268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67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706" y="6491118"/>
            <a:ext cx="5492679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7" y="6491116"/>
            <a:ext cx="552587" cy="292800"/>
          </a:xfrm>
          <a:prstGeom prst="rect">
            <a:avLst/>
          </a:prstGeom>
        </p:spPr>
        <p:txBody>
          <a:bodyPr vert="horz" lIns="79028" tIns="39511" rIns="79028" bIns="39511"/>
          <a:lstStyle/>
          <a:p>
            <a:pPr algn="r" defTabSz="790256">
              <a:spcBef>
                <a:spcPct val="20000"/>
              </a:spcBef>
              <a:buFont typeface="Arial"/>
              <a:buNone/>
            </a:pPr>
            <a:fld id="{49707FF1-3E8F-4BDD-A41F-CA7D070382DC}" type="slidenum">
              <a:rPr lang="pt-BR" sz="800">
                <a:solidFill>
                  <a:srgbClr val="280087"/>
                </a:solidFill>
              </a:rPr>
              <a:pPr algn="r" defTabSz="790256">
                <a:spcBef>
                  <a:spcPct val="20000"/>
                </a:spcBef>
                <a:buFont typeface="Arial"/>
                <a:buNone/>
              </a:pPr>
              <a:t>‹nº›</a:t>
            </a:fld>
            <a:endParaRPr lang="pt-BR" sz="800" dirty="0">
              <a:solidFill>
                <a:srgbClr val="280087"/>
              </a:solidFill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9" y="6491118"/>
            <a:ext cx="5066327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 algn="r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26888504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80" y="6491112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7" y="43089"/>
            <a:ext cx="890365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80" y="247535"/>
            <a:ext cx="11904443" cy="806223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marR="0" indent="0" algn="l" defTabSz="5268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67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706" y="6491118"/>
            <a:ext cx="5492679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7" y="6491116"/>
            <a:ext cx="552587" cy="292800"/>
          </a:xfrm>
          <a:prstGeom prst="rect">
            <a:avLst/>
          </a:prstGeom>
        </p:spPr>
        <p:txBody>
          <a:bodyPr vert="horz" lIns="79028" tIns="39511" rIns="79028" bIns="39511"/>
          <a:lstStyle/>
          <a:p>
            <a:pPr algn="r" defTabSz="790256">
              <a:spcBef>
                <a:spcPct val="20000"/>
              </a:spcBef>
              <a:buFont typeface="Arial"/>
              <a:buNone/>
            </a:pPr>
            <a:fld id="{49707FF1-3E8F-4BDD-A41F-CA7D070382DC}" type="slidenum">
              <a:rPr lang="pt-BR" sz="800">
                <a:solidFill>
                  <a:srgbClr val="280087"/>
                </a:solidFill>
              </a:rPr>
              <a:pPr algn="r" defTabSz="790256">
                <a:spcBef>
                  <a:spcPct val="20000"/>
                </a:spcBef>
                <a:buFont typeface="Arial"/>
                <a:buNone/>
              </a:pPr>
              <a:t>‹nº›</a:t>
            </a:fld>
            <a:endParaRPr lang="pt-BR" sz="800" dirty="0">
              <a:solidFill>
                <a:srgbClr val="280087"/>
              </a:solidFill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9" y="6491118"/>
            <a:ext cx="5066327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 algn="r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145515690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129680" y="6491112"/>
            <a:ext cx="11904443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25347" y="43089"/>
            <a:ext cx="890365" cy="204455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129680" y="247535"/>
            <a:ext cx="11904443" cy="806223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marR="0" indent="0" algn="l" defTabSz="52687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67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</a:t>
            </a:r>
            <a:r>
              <a:rPr lang="pt-BR" dirty="0"/>
              <a:t>2</a:t>
            </a:r>
            <a:r>
              <a:rPr lang="x-none" dirty="0"/>
              <a:t>pt bold</a:t>
            </a:r>
            <a:endParaRPr lang="pt-BR" dirty="0"/>
          </a:p>
          <a:p>
            <a:pPr lvl="0"/>
            <a:endParaRPr lang="pt-BR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29706" y="6491118"/>
            <a:ext cx="5492679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8" name="Retângulo 7"/>
          <p:cNvSpPr/>
          <p:nvPr userDrawn="1"/>
        </p:nvSpPr>
        <p:spPr>
          <a:xfrm>
            <a:off x="11630637" y="6491116"/>
            <a:ext cx="552587" cy="292800"/>
          </a:xfrm>
          <a:prstGeom prst="rect">
            <a:avLst/>
          </a:prstGeom>
        </p:spPr>
        <p:txBody>
          <a:bodyPr vert="horz" lIns="79028" tIns="39511" rIns="79028" bIns="39511"/>
          <a:lstStyle/>
          <a:p>
            <a:pPr algn="r" defTabSz="790256">
              <a:spcBef>
                <a:spcPct val="20000"/>
              </a:spcBef>
              <a:buFont typeface="Arial"/>
              <a:buNone/>
            </a:pPr>
            <a:fld id="{49707FF1-3E8F-4BDD-A41F-CA7D070382DC}" type="slidenum">
              <a:rPr lang="pt-BR" sz="800">
                <a:solidFill>
                  <a:srgbClr val="280087"/>
                </a:solidFill>
              </a:rPr>
              <a:pPr algn="r" defTabSz="790256">
                <a:spcBef>
                  <a:spcPct val="20000"/>
                </a:spcBef>
                <a:buFont typeface="Arial"/>
                <a:buNone/>
              </a:pPr>
              <a:t>‹nº›</a:t>
            </a:fld>
            <a:endParaRPr lang="pt-BR" sz="800" dirty="0">
              <a:solidFill>
                <a:srgbClr val="280087"/>
              </a:solidFill>
            </a:endParaRP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508259" y="6491118"/>
            <a:ext cx="5066327" cy="280321"/>
          </a:xfrm>
          <a:prstGeom prst="rect">
            <a:avLst/>
          </a:prstGeom>
        </p:spPr>
        <p:txBody>
          <a:bodyPr vert="horz" lIns="59271" tIns="29633" rIns="59271" bIns="29633"/>
          <a:lstStyle>
            <a:lvl1pPr marL="0" indent="0" algn="r">
              <a:lnSpc>
                <a:spcPct val="80000"/>
              </a:lnSpc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en-US" noProof="0" dirty="0"/>
              <a:t>Sources – 8pt</a:t>
            </a:r>
          </a:p>
        </p:txBody>
      </p:sp>
    </p:spTree>
    <p:extLst>
      <p:ext uri="{BB962C8B-B14F-4D97-AF65-F5344CB8AC3E}">
        <p14:creationId xmlns:p14="http://schemas.microsoft.com/office/powerpoint/2010/main" val="12047491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871">
          <p15:clr>
            <a:srgbClr val="FBAE40"/>
          </p15:clr>
        </p15:guide>
        <p15:guide id="2" pos="33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86" y="6236205"/>
            <a:ext cx="12192000" cy="634339"/>
          </a:xfrm>
          <a:prstGeom prst="rect">
            <a:avLst/>
          </a:prstGeom>
        </p:spPr>
      </p:pic>
      <p:sp>
        <p:nvSpPr>
          <p:cNvPr id="2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639719" y="422595"/>
            <a:ext cx="10887492" cy="7690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800">
                <a:solidFill>
                  <a:srgbClr val="AB989C"/>
                </a:solidFill>
              </a:defRPr>
            </a:lvl1pPr>
          </a:lstStyle>
          <a:p>
            <a:pPr lvl="0"/>
            <a:r>
              <a:rPr lang="x-none" dirty="0"/>
              <a:t>Agenda – 28pt</a:t>
            </a:r>
            <a:endParaRPr lang="en-US" dirty="0"/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1078726" y="1714224"/>
            <a:ext cx="10448492" cy="415601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1. Executive Summary</a:t>
            </a:r>
          </a:p>
          <a:p>
            <a:pPr lvl="0"/>
            <a:endParaRPr lang="x-none" dirty="0"/>
          </a:p>
          <a:p>
            <a:pPr lvl="0"/>
            <a:r>
              <a:rPr lang="x-none" dirty="0"/>
              <a:t>2. Objectives</a:t>
            </a:r>
          </a:p>
          <a:p>
            <a:pPr lvl="0"/>
            <a:endParaRPr lang="x-none" dirty="0"/>
          </a:p>
          <a:p>
            <a:pPr lvl="0"/>
            <a:r>
              <a:rPr lang="x-none" dirty="0"/>
              <a:t>3. Contents</a:t>
            </a:r>
          </a:p>
          <a:p>
            <a:pPr lvl="0"/>
            <a:endParaRPr lang="x-none" dirty="0"/>
          </a:p>
          <a:p>
            <a:pPr lvl="0"/>
            <a:r>
              <a:rPr lang="x-none" dirty="0"/>
              <a:t>4. Conclusion</a:t>
            </a:r>
          </a:p>
          <a:p>
            <a:pPr lvl="0"/>
            <a:endParaRPr lang="x-none" dirty="0"/>
          </a:p>
          <a:p>
            <a:pPr lvl="0"/>
            <a:r>
              <a:rPr lang="x-none" dirty="0"/>
              <a:t>- 1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86" y="6248747"/>
            <a:ext cx="12192000" cy="634339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962429" y="1770831"/>
            <a:ext cx="10964335" cy="4387885"/>
          </a:xfrm>
          <a:prstGeom prst="rect">
            <a:avLst/>
          </a:prstGeom>
        </p:spPr>
        <p:txBody>
          <a:bodyPr vert="horz"/>
          <a:lstStyle>
            <a:lvl1pPr marL="0" marR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en-US" sz="1200" dirty="0"/>
              <a:t>• Write here the information about highlight 01.</a:t>
            </a:r>
          </a:p>
          <a:p>
            <a:pPr lvl="0"/>
            <a:endParaRPr lang="en-US" sz="1200" dirty="0"/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/>
              <a:t>• Write here the information about highlight 02.</a:t>
            </a:r>
          </a:p>
          <a:p>
            <a:pPr lvl="0"/>
            <a:endParaRPr lang="en-US" sz="1200" dirty="0"/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/>
              <a:t>• Write here the information about highlight 03.</a:t>
            </a:r>
          </a:p>
          <a:p>
            <a:pPr lvl="0"/>
            <a:endParaRPr lang="en-US" sz="1200" dirty="0"/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/>
              <a:t>• Write here the information about highlight 04.</a:t>
            </a:r>
          </a:p>
          <a:p>
            <a:pPr lvl="0"/>
            <a:endParaRPr lang="en-US" sz="1200" dirty="0"/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/>
              <a:t>• Write here the information about highlight 05.</a:t>
            </a:r>
          </a:p>
          <a:p>
            <a:pPr lvl="0"/>
            <a:endParaRPr lang="en-US" sz="1200" dirty="0"/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/>
              <a:t>• Write here the information about highlight 06.</a:t>
            </a:r>
          </a:p>
          <a:p>
            <a:pPr lvl="0"/>
            <a:endParaRPr lang="en-US" sz="1200" dirty="0"/>
          </a:p>
          <a:p>
            <a:pPr lvl="0"/>
            <a:r>
              <a:rPr lang="en-US" sz="1200" dirty="0"/>
              <a:t>- 12p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602093" y="519383"/>
            <a:ext cx="10887492" cy="5252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Executive Summary –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984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0787" y="271095"/>
            <a:ext cx="884927" cy="203206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413934" y="6491112"/>
            <a:ext cx="11401774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28565" y="2950056"/>
            <a:ext cx="10159987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Objectives – 36pt</a:t>
            </a:r>
            <a:endParaRPr lang="en-US" dirty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313588" y="6478569"/>
            <a:ext cx="8749504" cy="2986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10208923" y="6482137"/>
            <a:ext cx="1687685" cy="298635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Page number – 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17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13934" y="6491112"/>
            <a:ext cx="11401774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25345" y="271107"/>
            <a:ext cx="890367" cy="204455"/>
          </a:xfrm>
          <a:prstGeom prst="rect">
            <a:avLst/>
          </a:prstGeom>
        </p:spPr>
      </p:pic>
      <p:sp>
        <p:nvSpPr>
          <p:cNvPr id="11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6" y="2108284"/>
            <a:ext cx="10159987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x-none" dirty="0"/>
              <a:t>Write here the</a:t>
            </a:r>
            <a:br>
              <a:rPr lang="x-none" dirty="0"/>
            </a:br>
            <a:r>
              <a:rPr lang="x-none" dirty="0"/>
              <a:t>content slide subtitle</a:t>
            </a:r>
            <a:br>
              <a:rPr lang="x-none" dirty="0"/>
            </a:br>
            <a:r>
              <a:rPr lang="x-none" dirty="0"/>
              <a:t>or a highlight info. – 24pt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577016" y="514216"/>
            <a:ext cx="10159987" cy="12920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2pt bold</a:t>
            </a:r>
            <a:endParaRPr lang="en-US" dirty="0"/>
          </a:p>
        </p:txBody>
      </p:sp>
      <p:sp>
        <p:nvSpPr>
          <p:cNvPr id="20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10502421" y="6480904"/>
            <a:ext cx="1397313" cy="29052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Page number – 8pt</a:t>
            </a:r>
            <a:endParaRPr lang="en-US" dirty="0"/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1016006" y="3996706"/>
            <a:ext cx="10159987" cy="224981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851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aculis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ligula id dui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Proin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. Integer mi </a:t>
            </a:r>
            <a:r>
              <a:rPr lang="en-US" dirty="0" err="1"/>
              <a:t>tellus</a:t>
            </a:r>
            <a:r>
              <a:rPr lang="en-US" dirty="0"/>
              <a:t>, </a:t>
            </a:r>
            <a:r>
              <a:rPr lang="en-US" dirty="0" err="1"/>
              <a:t>finibus</a:t>
            </a:r>
            <a:r>
              <a:rPr lang="en-US" dirty="0"/>
              <a:t> non </a:t>
            </a:r>
            <a:r>
              <a:rPr lang="en-US" dirty="0" err="1"/>
              <a:t>ultricies</a:t>
            </a:r>
            <a:r>
              <a:rPr lang="en-US" dirty="0"/>
              <a:t> vitae,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diam. Integer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est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dolor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In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finibus</a:t>
            </a:r>
            <a:r>
              <a:rPr lang="en-US" dirty="0"/>
              <a:t>,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Integer in magna at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</a:t>
            </a:r>
            <a:r>
              <a:rPr lang="en-US" dirty="0" err="1"/>
              <a:t>ultricies</a:t>
            </a:r>
            <a:r>
              <a:rPr lang="en-US" dirty="0"/>
              <a:t> at nisi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cursus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a </a:t>
            </a:r>
            <a:r>
              <a:rPr lang="en-US" dirty="0" err="1"/>
              <a:t>moll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. Integer </a:t>
            </a:r>
            <a:r>
              <a:rPr lang="en-US" dirty="0" err="1"/>
              <a:t>pellentesque</a:t>
            </a:r>
            <a:r>
              <a:rPr lang="en-US" dirty="0"/>
              <a:t> ex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lacus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– 8.5pt</a:t>
            </a:r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318622" y="6491124"/>
            <a:ext cx="8744481" cy="2803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452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0787" y="271095"/>
            <a:ext cx="884927" cy="203206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413934" y="6491112"/>
            <a:ext cx="11401774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28565" y="2950056"/>
            <a:ext cx="10159987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Contents – 36pt</a:t>
            </a:r>
            <a:endParaRPr lang="en-US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313588" y="6478569"/>
            <a:ext cx="8749504" cy="2986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10208923" y="6482137"/>
            <a:ext cx="1687685" cy="298635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Page number – 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12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13934" y="6491112"/>
            <a:ext cx="11401774" cy="0"/>
          </a:xfrm>
          <a:prstGeom prst="line">
            <a:avLst/>
          </a:prstGeom>
          <a:ln w="6350" cmpd="sng">
            <a:solidFill>
              <a:srgbClr val="2800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25345" y="271107"/>
            <a:ext cx="890367" cy="204455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6" y="2108284"/>
            <a:ext cx="10159987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x-none" dirty="0"/>
              <a:t>Write here the</a:t>
            </a:r>
            <a:br>
              <a:rPr lang="x-none" dirty="0"/>
            </a:br>
            <a:r>
              <a:rPr lang="x-none" dirty="0"/>
              <a:t>content slide subtitle</a:t>
            </a:r>
            <a:br>
              <a:rPr lang="x-none" dirty="0"/>
            </a:br>
            <a:r>
              <a:rPr lang="x-none" dirty="0"/>
              <a:t>or a highlight info. – 24pt</a:t>
            </a:r>
            <a:endParaRPr lang="en-US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577016" y="514216"/>
            <a:ext cx="10159987" cy="12920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 b="1" baseline="0">
                <a:solidFill>
                  <a:srgbClr val="ED1650"/>
                </a:solidFill>
              </a:defRPr>
            </a:lvl1pPr>
          </a:lstStyle>
          <a:p>
            <a:pPr lvl="0"/>
            <a:r>
              <a:rPr lang="x-none" dirty="0"/>
              <a:t>Write here the content slide title – 22pt bold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1016006" y="3996706"/>
            <a:ext cx="10159987" cy="224981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851" b="0" baseline="0">
                <a:solidFill>
                  <a:srgbClr val="60504C"/>
                </a:solidFill>
              </a:defRPr>
            </a:lvl1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aculis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ligula id dui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Proin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. Integer mi </a:t>
            </a:r>
            <a:r>
              <a:rPr lang="en-US" dirty="0" err="1"/>
              <a:t>tellus</a:t>
            </a:r>
            <a:r>
              <a:rPr lang="en-US" dirty="0"/>
              <a:t>, </a:t>
            </a:r>
            <a:r>
              <a:rPr lang="en-US" dirty="0" err="1"/>
              <a:t>finibus</a:t>
            </a:r>
            <a:r>
              <a:rPr lang="en-US" dirty="0"/>
              <a:t> non </a:t>
            </a:r>
            <a:r>
              <a:rPr lang="en-US" dirty="0" err="1"/>
              <a:t>ultricies</a:t>
            </a:r>
            <a:r>
              <a:rPr lang="en-US" dirty="0"/>
              <a:t> vitae,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diam. Integer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est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dolor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In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finibus</a:t>
            </a:r>
            <a:r>
              <a:rPr lang="en-US" dirty="0"/>
              <a:t>,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Integer in magna at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</a:t>
            </a:r>
            <a:r>
              <a:rPr lang="en-US" dirty="0" err="1"/>
              <a:t>ultricies</a:t>
            </a:r>
            <a:r>
              <a:rPr lang="en-US" dirty="0"/>
              <a:t> at nisi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cursus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a </a:t>
            </a:r>
            <a:r>
              <a:rPr lang="en-US" dirty="0" err="1"/>
              <a:t>moll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. Integer </a:t>
            </a:r>
            <a:r>
              <a:rPr lang="en-US" dirty="0" err="1"/>
              <a:t>pellentesque</a:t>
            </a:r>
            <a:r>
              <a:rPr lang="en-US" dirty="0"/>
              <a:t> ex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lacus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– 8.5pt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10502421" y="6480904"/>
            <a:ext cx="1397313" cy="29052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Page number – 8pt</a:t>
            </a:r>
            <a:endParaRPr lang="en-US" dirty="0"/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318622" y="6491124"/>
            <a:ext cx="8744481" cy="2803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 b="0" baseline="0">
                <a:solidFill>
                  <a:srgbClr val="280087"/>
                </a:solidFill>
              </a:defRPr>
            </a:lvl1pPr>
          </a:lstStyle>
          <a:p>
            <a:pPr lvl="0"/>
            <a:r>
              <a:rPr lang="x-none" dirty="0"/>
              <a:t>Footnote – 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524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2" y="-38864"/>
            <a:ext cx="12321902" cy="693107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6979" y="736969"/>
            <a:ext cx="4778308" cy="4311974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1204156" y="2878667"/>
            <a:ext cx="479995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189158" y="738951"/>
            <a:ext cx="2133601" cy="495748"/>
          </a:xfrm>
          <a:prstGeom prst="rect">
            <a:avLst/>
          </a:prstGeom>
        </p:spPr>
      </p:pic>
      <p:sp>
        <p:nvSpPr>
          <p:cNvPr id="15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1066187" y="951402"/>
            <a:ext cx="4329904" cy="179462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br>
              <a:rPr lang="x-none" dirty="0"/>
            </a:br>
            <a:r>
              <a:rPr lang="x-none" dirty="0"/>
              <a:t>Thank you</a:t>
            </a:r>
            <a:endParaRPr lang="en-US" dirty="0"/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1103820" y="3078059"/>
            <a:ext cx="4292276" cy="88302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Gracias!</a:t>
            </a:r>
            <a:br>
              <a:rPr lang="x-none" dirty="0"/>
            </a:br>
            <a:r>
              <a:rPr lang="x-none" dirty="0"/>
              <a:t>Obrigado!</a:t>
            </a:r>
            <a:endParaRPr lang="en-US" dirty="0"/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1103824" y="3961076"/>
            <a:ext cx="2910015" cy="3211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Responsible Name – 10pt bold</a:t>
            </a:r>
            <a:endParaRPr lang="en-US" dirty="0"/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1103823" y="4199699"/>
            <a:ext cx="2910015" cy="3535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Management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013839" y="4213841"/>
            <a:ext cx="1382261" cy="270956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mm/dd//yy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038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1_Custom Layout" type="tx">
  <p:cSld name="51_Custom 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sldNum" idx="1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4974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  <p:sldLayoutId id="2147493464" r:id="rId3"/>
    <p:sldLayoutId id="2147493465" r:id="rId4"/>
    <p:sldLayoutId id="2147493466" r:id="rId5"/>
    <p:sldLayoutId id="2147493467" r:id="rId6"/>
    <p:sldLayoutId id="2147493468" r:id="rId7"/>
    <p:sldLayoutId id="2147493469" r:id="rId8"/>
  </p:sldLayoutIdLst>
  <p:txStyles>
    <p:titleStyle>
      <a:lvl1pPr algn="ctr" defTabSz="4571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3" indent="-342883" algn="l" defTabSz="45717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7" algn="l" defTabSz="457178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8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609600" y="92075"/>
            <a:ext cx="10972800" cy="1508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Trebuchet MS"/>
              <a:buNone/>
              <a:defRPr sz="4200" b="1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•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•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495300" algn="l" rtl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Char char="–"/>
              <a:defRPr sz="4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rebuchet MS"/>
              <a:buNone/>
              <a:defRPr sz="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defTabSz="457200"/>
            <a:fld id="{00000000-1234-1234-1234-123412341234}" type="slidenum">
              <a:rPr lang="en-US" kern="0" smtClean="0"/>
              <a:pPr defTabSz="457200"/>
              <a:t>‹nº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1308632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93471" r:id="rId1"/>
    <p:sldLayoutId id="2147493472" r:id="rId2"/>
    <p:sldLayoutId id="2147493473" r:id="rId3"/>
    <p:sldLayoutId id="2147493474" r:id="rId4"/>
    <p:sldLayoutId id="2147493475" r:id="rId5"/>
    <p:sldLayoutId id="2147493476" r:id="rId6"/>
    <p:sldLayoutId id="2147493477" r:id="rId7"/>
    <p:sldLayoutId id="214749347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tags" Target="../tags/tag82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42" Type="http://schemas.openxmlformats.org/officeDocument/2006/relationships/tags" Target="../tags/tag85.xml"/><Relationship Id="rId47" Type="http://schemas.openxmlformats.org/officeDocument/2006/relationships/chart" Target="../charts/chart2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46" Type="http://schemas.openxmlformats.org/officeDocument/2006/relationships/image" Target="../media/image18.emf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tags" Target="../tags/tag83.xml"/><Relationship Id="rId45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4" Type="http://schemas.openxmlformats.org/officeDocument/2006/relationships/notesSlide" Target="../notesSlides/notesSlide1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43" Type="http://schemas.openxmlformats.org/officeDocument/2006/relationships/slideLayout" Target="../slideLayouts/slideLayout12.xml"/><Relationship Id="rId48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chart" Target="../charts/chart4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image" Target="../media/image18.emf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41" Type="http://schemas.openxmlformats.org/officeDocument/2006/relationships/tags" Target="../tags/tag12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oleObject" Target="../embeddings/oleObject11.bin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4" Type="http://schemas.openxmlformats.org/officeDocument/2006/relationships/notesSlide" Target="../notesSlides/notesSlide12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slideLayout" Target="../slideLayouts/slideLayout13.xml"/><Relationship Id="rId48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26" Type="http://schemas.openxmlformats.org/officeDocument/2006/relationships/tags" Target="../tags/tag151.xml"/><Relationship Id="rId39" Type="http://schemas.openxmlformats.org/officeDocument/2006/relationships/tags" Target="../tags/tag164.xml"/><Relationship Id="rId3" Type="http://schemas.openxmlformats.org/officeDocument/2006/relationships/tags" Target="../tags/tag128.xml"/><Relationship Id="rId21" Type="http://schemas.openxmlformats.org/officeDocument/2006/relationships/tags" Target="../tags/tag146.xml"/><Relationship Id="rId34" Type="http://schemas.openxmlformats.org/officeDocument/2006/relationships/tags" Target="../tags/tag159.xml"/><Relationship Id="rId42" Type="http://schemas.openxmlformats.org/officeDocument/2006/relationships/tags" Target="../tags/tag167.xml"/><Relationship Id="rId47" Type="http://schemas.openxmlformats.org/officeDocument/2006/relationships/chart" Target="../charts/chart6.xml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5" Type="http://schemas.openxmlformats.org/officeDocument/2006/relationships/tags" Target="../tags/tag150.xml"/><Relationship Id="rId33" Type="http://schemas.openxmlformats.org/officeDocument/2006/relationships/tags" Target="../tags/tag158.xml"/><Relationship Id="rId38" Type="http://schemas.openxmlformats.org/officeDocument/2006/relationships/tags" Target="../tags/tag163.xml"/><Relationship Id="rId46" Type="http://schemas.openxmlformats.org/officeDocument/2006/relationships/image" Target="../media/image18.emf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0" Type="http://schemas.openxmlformats.org/officeDocument/2006/relationships/tags" Target="../tags/tag145.xml"/><Relationship Id="rId29" Type="http://schemas.openxmlformats.org/officeDocument/2006/relationships/tags" Target="../tags/tag154.xml"/><Relationship Id="rId41" Type="http://schemas.openxmlformats.org/officeDocument/2006/relationships/tags" Target="../tags/tag16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tags" Target="../tags/tag149.xml"/><Relationship Id="rId32" Type="http://schemas.openxmlformats.org/officeDocument/2006/relationships/tags" Target="../tags/tag157.xml"/><Relationship Id="rId37" Type="http://schemas.openxmlformats.org/officeDocument/2006/relationships/tags" Target="../tags/tag162.xml"/><Relationship Id="rId40" Type="http://schemas.openxmlformats.org/officeDocument/2006/relationships/tags" Target="../tags/tag165.xml"/><Relationship Id="rId45" Type="http://schemas.openxmlformats.org/officeDocument/2006/relationships/oleObject" Target="../embeddings/oleObject12.bin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23" Type="http://schemas.openxmlformats.org/officeDocument/2006/relationships/tags" Target="../tags/tag148.xml"/><Relationship Id="rId28" Type="http://schemas.openxmlformats.org/officeDocument/2006/relationships/tags" Target="../tags/tag153.xml"/><Relationship Id="rId36" Type="http://schemas.openxmlformats.org/officeDocument/2006/relationships/tags" Target="../tags/tag161.xml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31" Type="http://schemas.openxmlformats.org/officeDocument/2006/relationships/tags" Target="../tags/tag156.xml"/><Relationship Id="rId44" Type="http://schemas.openxmlformats.org/officeDocument/2006/relationships/notesSlide" Target="../notesSlides/notesSlide13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tags" Target="../tags/tag147.xml"/><Relationship Id="rId27" Type="http://schemas.openxmlformats.org/officeDocument/2006/relationships/tags" Target="../tags/tag152.xml"/><Relationship Id="rId30" Type="http://schemas.openxmlformats.org/officeDocument/2006/relationships/tags" Target="../tags/tag155.xml"/><Relationship Id="rId35" Type="http://schemas.openxmlformats.org/officeDocument/2006/relationships/tags" Target="../tags/tag160.xml"/><Relationship Id="rId43" Type="http://schemas.openxmlformats.org/officeDocument/2006/relationships/slideLayout" Target="../slideLayouts/slideLayout14.xml"/><Relationship Id="rId48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26" Type="http://schemas.openxmlformats.org/officeDocument/2006/relationships/tags" Target="../tags/tag192.xml"/><Relationship Id="rId39" Type="http://schemas.openxmlformats.org/officeDocument/2006/relationships/tags" Target="../tags/tag205.xml"/><Relationship Id="rId3" Type="http://schemas.openxmlformats.org/officeDocument/2006/relationships/tags" Target="../tags/tag169.xml"/><Relationship Id="rId21" Type="http://schemas.openxmlformats.org/officeDocument/2006/relationships/tags" Target="../tags/tag187.xml"/><Relationship Id="rId34" Type="http://schemas.openxmlformats.org/officeDocument/2006/relationships/tags" Target="../tags/tag200.xml"/><Relationship Id="rId42" Type="http://schemas.openxmlformats.org/officeDocument/2006/relationships/tags" Target="../tags/tag208.xml"/><Relationship Id="rId47" Type="http://schemas.openxmlformats.org/officeDocument/2006/relationships/chart" Target="../charts/chart8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5" Type="http://schemas.openxmlformats.org/officeDocument/2006/relationships/tags" Target="../tags/tag191.xml"/><Relationship Id="rId33" Type="http://schemas.openxmlformats.org/officeDocument/2006/relationships/tags" Target="../tags/tag199.xml"/><Relationship Id="rId38" Type="http://schemas.openxmlformats.org/officeDocument/2006/relationships/tags" Target="../tags/tag204.xml"/><Relationship Id="rId46" Type="http://schemas.openxmlformats.org/officeDocument/2006/relationships/image" Target="../media/image18.emf"/><Relationship Id="rId2" Type="http://schemas.openxmlformats.org/officeDocument/2006/relationships/tags" Target="../tags/tag168.xml"/><Relationship Id="rId16" Type="http://schemas.openxmlformats.org/officeDocument/2006/relationships/tags" Target="../tags/tag182.xml"/><Relationship Id="rId20" Type="http://schemas.openxmlformats.org/officeDocument/2006/relationships/tags" Target="../tags/tag186.xml"/><Relationship Id="rId29" Type="http://schemas.openxmlformats.org/officeDocument/2006/relationships/tags" Target="../tags/tag195.xml"/><Relationship Id="rId41" Type="http://schemas.openxmlformats.org/officeDocument/2006/relationships/tags" Target="../tags/tag20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24" Type="http://schemas.openxmlformats.org/officeDocument/2006/relationships/tags" Target="../tags/tag190.xml"/><Relationship Id="rId32" Type="http://schemas.openxmlformats.org/officeDocument/2006/relationships/tags" Target="../tags/tag198.xml"/><Relationship Id="rId37" Type="http://schemas.openxmlformats.org/officeDocument/2006/relationships/tags" Target="../tags/tag203.xml"/><Relationship Id="rId40" Type="http://schemas.openxmlformats.org/officeDocument/2006/relationships/tags" Target="../tags/tag206.xml"/><Relationship Id="rId45" Type="http://schemas.openxmlformats.org/officeDocument/2006/relationships/oleObject" Target="../embeddings/oleObject13.bin"/><Relationship Id="rId5" Type="http://schemas.openxmlformats.org/officeDocument/2006/relationships/tags" Target="../tags/tag171.xml"/><Relationship Id="rId15" Type="http://schemas.openxmlformats.org/officeDocument/2006/relationships/tags" Target="../tags/tag181.xml"/><Relationship Id="rId23" Type="http://schemas.openxmlformats.org/officeDocument/2006/relationships/tags" Target="../tags/tag189.xml"/><Relationship Id="rId28" Type="http://schemas.openxmlformats.org/officeDocument/2006/relationships/tags" Target="../tags/tag194.xml"/><Relationship Id="rId36" Type="http://schemas.openxmlformats.org/officeDocument/2006/relationships/tags" Target="../tags/tag202.xml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31" Type="http://schemas.openxmlformats.org/officeDocument/2006/relationships/tags" Target="../tags/tag197.xml"/><Relationship Id="rId44" Type="http://schemas.openxmlformats.org/officeDocument/2006/relationships/notesSlide" Target="../notesSlides/notesSlide14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tags" Target="../tags/tag188.xml"/><Relationship Id="rId27" Type="http://schemas.openxmlformats.org/officeDocument/2006/relationships/tags" Target="../tags/tag193.xml"/><Relationship Id="rId30" Type="http://schemas.openxmlformats.org/officeDocument/2006/relationships/tags" Target="../tags/tag196.xml"/><Relationship Id="rId35" Type="http://schemas.openxmlformats.org/officeDocument/2006/relationships/tags" Target="../tags/tag201.xml"/><Relationship Id="rId43" Type="http://schemas.openxmlformats.org/officeDocument/2006/relationships/slideLayout" Target="../slideLayouts/slideLayout15.xml"/><Relationship Id="rId48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26" Type="http://schemas.openxmlformats.org/officeDocument/2006/relationships/tags" Target="../tags/tag233.xml"/><Relationship Id="rId39" Type="http://schemas.openxmlformats.org/officeDocument/2006/relationships/tags" Target="../tags/tag246.xml"/><Relationship Id="rId3" Type="http://schemas.openxmlformats.org/officeDocument/2006/relationships/tags" Target="../tags/tag210.xml"/><Relationship Id="rId21" Type="http://schemas.openxmlformats.org/officeDocument/2006/relationships/tags" Target="../tags/tag228.xml"/><Relationship Id="rId34" Type="http://schemas.openxmlformats.org/officeDocument/2006/relationships/tags" Target="../tags/tag241.xml"/><Relationship Id="rId42" Type="http://schemas.openxmlformats.org/officeDocument/2006/relationships/tags" Target="../tags/tag249.xml"/><Relationship Id="rId47" Type="http://schemas.openxmlformats.org/officeDocument/2006/relationships/chart" Target="../charts/chart10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tags" Target="../tags/tag232.xml"/><Relationship Id="rId33" Type="http://schemas.openxmlformats.org/officeDocument/2006/relationships/tags" Target="../tags/tag240.xml"/><Relationship Id="rId38" Type="http://schemas.openxmlformats.org/officeDocument/2006/relationships/tags" Target="../tags/tag245.xml"/><Relationship Id="rId46" Type="http://schemas.openxmlformats.org/officeDocument/2006/relationships/image" Target="../media/image18.emf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29" Type="http://schemas.openxmlformats.org/officeDocument/2006/relationships/tags" Target="../tags/tag236.xml"/><Relationship Id="rId41" Type="http://schemas.openxmlformats.org/officeDocument/2006/relationships/tags" Target="../tags/tag24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tags" Target="../tags/tag231.xml"/><Relationship Id="rId32" Type="http://schemas.openxmlformats.org/officeDocument/2006/relationships/tags" Target="../tags/tag239.xml"/><Relationship Id="rId37" Type="http://schemas.openxmlformats.org/officeDocument/2006/relationships/tags" Target="../tags/tag244.xml"/><Relationship Id="rId40" Type="http://schemas.openxmlformats.org/officeDocument/2006/relationships/tags" Target="../tags/tag247.xml"/><Relationship Id="rId45" Type="http://schemas.openxmlformats.org/officeDocument/2006/relationships/oleObject" Target="../embeddings/oleObject14.bin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28" Type="http://schemas.openxmlformats.org/officeDocument/2006/relationships/tags" Target="../tags/tag235.xml"/><Relationship Id="rId36" Type="http://schemas.openxmlformats.org/officeDocument/2006/relationships/tags" Target="../tags/tag243.xml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31" Type="http://schemas.openxmlformats.org/officeDocument/2006/relationships/tags" Target="../tags/tag238.xml"/><Relationship Id="rId44" Type="http://schemas.openxmlformats.org/officeDocument/2006/relationships/notesSlide" Target="../notesSlides/notesSlide15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Relationship Id="rId27" Type="http://schemas.openxmlformats.org/officeDocument/2006/relationships/tags" Target="../tags/tag234.xml"/><Relationship Id="rId30" Type="http://schemas.openxmlformats.org/officeDocument/2006/relationships/tags" Target="../tags/tag237.xml"/><Relationship Id="rId35" Type="http://schemas.openxmlformats.org/officeDocument/2006/relationships/tags" Target="../tags/tag242.xml"/><Relationship Id="rId43" Type="http://schemas.openxmlformats.org/officeDocument/2006/relationships/slideLayout" Target="../slideLayouts/slideLayout16.xml"/><Relationship Id="rId48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image" Target="../media/image18.emf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notesSlide" Target="../notesSlides/notesSlide9.xml"/><Relationship Id="rId40" Type="http://schemas.openxmlformats.org/officeDocument/2006/relationships/chart" Target="../charts/chart1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slideLayout" Target="../slideLayouts/slideLayout10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5006C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8"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4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1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15" name="Shape 15"/>
          <p:cNvGrpSpPr/>
          <p:nvPr/>
        </p:nvGrpSpPr>
        <p:grpSpPr>
          <a:xfrm>
            <a:off x="9207641" y="-1"/>
            <a:ext cx="2998760" cy="6864351"/>
            <a:chOff x="18415282" y="-2"/>
            <a:chExt cx="5997519" cy="13728702"/>
          </a:xfrm>
        </p:grpSpPr>
        <p:sp>
          <p:nvSpPr>
            <p:cNvPr id="16" name="Shape 16"/>
            <p:cNvSpPr/>
            <p:nvPr/>
          </p:nvSpPr>
          <p:spPr>
            <a:xfrm>
              <a:off x="18445202" y="-2"/>
              <a:ext cx="5967600" cy="1371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1913" tIns="121913" rIns="121913" bIns="121913" anchor="ctr" anchorCtr="0">
              <a:noAutofit/>
            </a:bodyPr>
            <a:lstStyle/>
            <a:p>
              <a:pPr defTabSz="457200">
                <a:lnSpc>
                  <a:spcPct val="90000"/>
                </a:lnSpc>
                <a:buClr>
                  <a:srgbClr val="FFFFFF"/>
                </a:buClr>
                <a:buSzPts val="7400"/>
                <a:defRPr/>
              </a:pPr>
              <a:endParaRPr sz="3700" kern="0" dirty="0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pic>
          <p:nvPicPr>
            <p:cNvPr id="17" name="Shape 17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9043073" y="402313"/>
              <a:ext cx="4618376" cy="191201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" name="Shape 18"/>
            <p:cNvSpPr/>
            <p:nvPr/>
          </p:nvSpPr>
          <p:spPr>
            <a:xfrm flipH="1">
              <a:off x="18415282" y="13064542"/>
              <a:ext cx="5994602" cy="664158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13" tIns="121913" rIns="121913" bIns="121913" anchor="ctr" anchorCtr="0">
              <a:noAutofit/>
            </a:bodyPr>
            <a:lstStyle/>
            <a:p>
              <a:pPr defTabSz="457200">
                <a:lnSpc>
                  <a:spcPct val="90000"/>
                </a:lnSpc>
                <a:buClr>
                  <a:srgbClr val="FFFFFF"/>
                </a:buClr>
                <a:buSzPts val="7400"/>
                <a:defRPr/>
              </a:pPr>
              <a:endParaRPr sz="3700" kern="0" dirty="0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6" name="Shape 981"/>
          <p:cNvSpPr/>
          <p:nvPr/>
        </p:nvSpPr>
        <p:spPr>
          <a:xfrm>
            <a:off x="1468120" y="2287346"/>
            <a:ext cx="642243" cy="116038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43838" tIns="243838" rIns="243838" bIns="243838" anchor="ctr"/>
          <a:lstStyle/>
          <a:p>
            <a:pPr defTabSz="914241"/>
            <a:endParaRPr sz="1900" dirty="0">
              <a:solidFill>
                <a:srgbClr val="000000"/>
              </a:solidFill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764400" y="2830847"/>
            <a:ext cx="7412297" cy="184665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241"/>
            <a:r>
              <a:rPr lang="pt-BR" sz="4800" b="1" i="1" dirty="0">
                <a:latin typeface="Latam Sans" pitchFamily="34" charset="0"/>
              </a:rPr>
              <a:t>Audiência Pública</a:t>
            </a:r>
            <a:br>
              <a:rPr lang="pt-BR" sz="4800" b="1" i="1" dirty="0">
                <a:latin typeface="Latam Sans" pitchFamily="34" charset="0"/>
              </a:rPr>
            </a:br>
            <a:r>
              <a:rPr lang="pt-BR" sz="4800" b="1" i="1" dirty="0" err="1">
                <a:latin typeface="Latam Sans" pitchFamily="34" charset="0"/>
              </a:rPr>
              <a:t>Cdeics</a:t>
            </a:r>
            <a:endParaRPr lang="pt-BR" sz="4800" b="1" i="1" dirty="0">
              <a:latin typeface="Latam Sans" pitchFamily="34" charset="0"/>
            </a:endParaRPr>
          </a:p>
          <a:p>
            <a:pPr algn="ctr" defTabSz="914241"/>
            <a:r>
              <a:rPr lang="pt-BR" sz="1800" b="1" i="1" dirty="0">
                <a:latin typeface="Latam Sans" pitchFamily="34" charset="0"/>
              </a:rPr>
              <a:t>06/</a:t>
            </a:r>
            <a:r>
              <a:rPr lang="pt-BR" sz="1800" b="1" i="1" dirty="0" err="1">
                <a:latin typeface="Latam Sans" pitchFamily="34" charset="0"/>
              </a:rPr>
              <a:t>jun</a:t>
            </a:r>
            <a:r>
              <a:rPr lang="pt-BR" sz="1800" b="1" i="1" dirty="0">
                <a:latin typeface="Latam Sans" pitchFamily="34" charset="0"/>
              </a:rPr>
              <a:t>/19</a:t>
            </a:r>
          </a:p>
        </p:txBody>
      </p:sp>
      <p:pic>
        <p:nvPicPr>
          <p:cNvPr id="29" name="icons-17.png"/>
          <p:cNvPicPr>
            <a:picLocks noChangeAspect="1"/>
          </p:cNvPicPr>
          <p:nvPr/>
        </p:nvPicPr>
        <p:blipFill>
          <a:blip r:embed="rId9">
            <a:alphaModFix amt="30000"/>
          </a:blip>
          <a:srcRect l="19931" t="32057" r="19146" b="25266"/>
          <a:stretch>
            <a:fillRect/>
          </a:stretch>
        </p:blipFill>
        <p:spPr>
          <a:xfrm>
            <a:off x="-377120" y="4827971"/>
            <a:ext cx="2939948" cy="2053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020810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tângulo 115"/>
          <p:cNvSpPr/>
          <p:nvPr/>
        </p:nvSpPr>
        <p:spPr>
          <a:xfrm>
            <a:off x="7020962" y="5134698"/>
            <a:ext cx="4847255" cy="12453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" name="Retângulo 2"/>
          <p:cNvSpPr/>
          <p:nvPr/>
        </p:nvSpPr>
        <p:spPr>
          <a:xfrm>
            <a:off x="513348" y="5354878"/>
            <a:ext cx="4626439" cy="10251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68" name="Retângulo 267"/>
          <p:cNvSpPr/>
          <p:nvPr/>
        </p:nvSpPr>
        <p:spPr>
          <a:xfrm>
            <a:off x="513348" y="826397"/>
            <a:ext cx="3400926" cy="318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Tarifa média </a:t>
            </a:r>
            <a:r>
              <a:rPr lang="pt-BR" sz="1050" i="1" dirty="0">
                <a:solidFill>
                  <a:schemeClr val="tx1"/>
                </a:solidFill>
              </a:rPr>
              <a:t>(em R$)</a:t>
            </a:r>
            <a:endParaRPr lang="pt-BR" sz="1400" i="1" dirty="0">
              <a:solidFill>
                <a:schemeClr val="tx1"/>
              </a:solidFill>
            </a:endParaRPr>
          </a:p>
        </p:txBody>
      </p:sp>
      <p:sp>
        <p:nvSpPr>
          <p:cNvPr id="269" name="Retângulo 268"/>
          <p:cNvSpPr/>
          <p:nvPr/>
        </p:nvSpPr>
        <p:spPr>
          <a:xfrm>
            <a:off x="4472283" y="826397"/>
            <a:ext cx="3400926" cy="318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Distância média </a:t>
            </a:r>
            <a:r>
              <a:rPr lang="pt-BR" sz="1050" i="1" dirty="0">
                <a:solidFill>
                  <a:schemeClr val="tx1"/>
                </a:solidFill>
              </a:rPr>
              <a:t>(em KM)</a:t>
            </a:r>
            <a:endParaRPr lang="pt-BR" sz="1400" i="1" dirty="0">
              <a:solidFill>
                <a:schemeClr val="tx1"/>
              </a:solidFill>
            </a:endParaRPr>
          </a:p>
        </p:txBody>
      </p:sp>
      <p:sp>
        <p:nvSpPr>
          <p:cNvPr id="270" name="Retângulo 269"/>
          <p:cNvSpPr/>
          <p:nvPr/>
        </p:nvSpPr>
        <p:spPr>
          <a:xfrm>
            <a:off x="8431217" y="826397"/>
            <a:ext cx="3400926" cy="318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Preço unitário por Km</a:t>
            </a:r>
          </a:p>
        </p:txBody>
      </p:sp>
      <p:grpSp>
        <p:nvGrpSpPr>
          <p:cNvPr id="277" name="Agrupar 276"/>
          <p:cNvGrpSpPr/>
          <p:nvPr/>
        </p:nvGrpSpPr>
        <p:grpSpPr>
          <a:xfrm>
            <a:off x="430910" y="1228024"/>
            <a:ext cx="3393808" cy="3757764"/>
            <a:chOff x="430910" y="1686319"/>
            <a:chExt cx="3393808" cy="3757764"/>
          </a:xfrm>
        </p:grpSpPr>
        <p:grpSp>
          <p:nvGrpSpPr>
            <p:cNvPr id="201" name="Agrupar 200"/>
            <p:cNvGrpSpPr/>
            <p:nvPr/>
          </p:nvGrpSpPr>
          <p:grpSpPr>
            <a:xfrm>
              <a:off x="430910" y="1824743"/>
              <a:ext cx="3393808" cy="3619340"/>
              <a:chOff x="430910" y="1490165"/>
              <a:chExt cx="3393808" cy="3619340"/>
            </a:xfrm>
          </p:grpSpPr>
          <p:grpSp>
            <p:nvGrpSpPr>
              <p:cNvPr id="200" name="Agrupar 199"/>
              <p:cNvGrpSpPr/>
              <p:nvPr/>
            </p:nvGrpSpPr>
            <p:grpSpPr>
              <a:xfrm>
                <a:off x="430910" y="1490165"/>
                <a:ext cx="3393808" cy="3619340"/>
                <a:chOff x="430910" y="1490165"/>
                <a:chExt cx="3393808" cy="3619340"/>
              </a:xfrm>
            </p:grpSpPr>
            <p:sp>
              <p:nvSpPr>
                <p:cNvPr id="6" name="Freeform 65"/>
                <p:cNvSpPr>
                  <a:spLocks/>
                </p:cNvSpPr>
                <p:nvPr/>
              </p:nvSpPr>
              <p:spPr bwMode="blackWhite">
                <a:xfrm>
                  <a:off x="3217519" y="2133144"/>
                  <a:ext cx="389258" cy="447810"/>
                </a:xfrm>
                <a:custGeom>
                  <a:avLst/>
                  <a:gdLst>
                    <a:gd name="T0" fmla="*/ 2147483647 w 258"/>
                    <a:gd name="T1" fmla="*/ 2147483647 h 291"/>
                    <a:gd name="T2" fmla="*/ 2147483647 w 258"/>
                    <a:gd name="T3" fmla="*/ 2147483647 h 291"/>
                    <a:gd name="T4" fmla="*/ 2147483647 w 258"/>
                    <a:gd name="T5" fmla="*/ 2147483647 h 291"/>
                    <a:gd name="T6" fmla="*/ 2147483647 w 258"/>
                    <a:gd name="T7" fmla="*/ 2147483647 h 291"/>
                    <a:gd name="T8" fmla="*/ 2147483647 w 258"/>
                    <a:gd name="T9" fmla="*/ 0 h 291"/>
                    <a:gd name="T10" fmla="*/ 0 w 258"/>
                    <a:gd name="T11" fmla="*/ 0 h 291"/>
                    <a:gd name="T12" fmla="*/ 0 w 258"/>
                    <a:gd name="T13" fmla="*/ 2147483647 h 291"/>
                    <a:gd name="T14" fmla="*/ 0 w 258"/>
                    <a:gd name="T15" fmla="*/ 2147483647 h 291"/>
                    <a:gd name="T16" fmla="*/ 2147483647 w 258"/>
                    <a:gd name="T17" fmla="*/ 2147483647 h 291"/>
                    <a:gd name="T18" fmla="*/ 2147483647 w 258"/>
                    <a:gd name="T19" fmla="*/ 2147483647 h 291"/>
                    <a:gd name="T20" fmla="*/ 2147483647 w 258"/>
                    <a:gd name="T21" fmla="*/ 2147483647 h 291"/>
                    <a:gd name="T22" fmla="*/ 2147483647 w 258"/>
                    <a:gd name="T23" fmla="*/ 2147483647 h 291"/>
                    <a:gd name="T24" fmla="*/ 2147483647 w 258"/>
                    <a:gd name="T25" fmla="*/ 2147483647 h 291"/>
                    <a:gd name="T26" fmla="*/ 2147483647 w 258"/>
                    <a:gd name="T27" fmla="*/ 2147483647 h 291"/>
                    <a:gd name="T28" fmla="*/ 2147483647 w 258"/>
                    <a:gd name="T29" fmla="*/ 2147483647 h 291"/>
                    <a:gd name="T30" fmla="*/ 2147483647 w 258"/>
                    <a:gd name="T31" fmla="*/ 2147483647 h 291"/>
                    <a:gd name="T32" fmla="*/ 2147483647 w 258"/>
                    <a:gd name="T33" fmla="*/ 2147483647 h 291"/>
                    <a:gd name="T34" fmla="*/ 2147483647 w 258"/>
                    <a:gd name="T35" fmla="*/ 2147483647 h 291"/>
                    <a:gd name="T36" fmla="*/ 2147483647 w 258"/>
                    <a:gd name="T37" fmla="*/ 2147483647 h 291"/>
                    <a:gd name="T38" fmla="*/ 2147483647 w 258"/>
                    <a:gd name="T39" fmla="*/ 2147483647 h 291"/>
                    <a:gd name="T40" fmla="*/ 2147483647 w 258"/>
                    <a:gd name="T41" fmla="*/ 2147483647 h 29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58"/>
                    <a:gd name="T64" fmla="*/ 0 h 291"/>
                    <a:gd name="T65" fmla="*/ 258 w 258"/>
                    <a:gd name="T66" fmla="*/ 291 h 29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58" h="291">
                      <a:moveTo>
                        <a:pt x="257" y="94"/>
                      </a:moveTo>
                      <a:lnTo>
                        <a:pt x="199" y="60"/>
                      </a:lnTo>
                      <a:lnTo>
                        <a:pt x="186" y="60"/>
                      </a:lnTo>
                      <a:lnTo>
                        <a:pt x="147" y="20"/>
                      </a:lnTo>
                      <a:lnTo>
                        <a:pt x="89" y="0"/>
                      </a:ln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0" y="80"/>
                      </a:lnTo>
                      <a:lnTo>
                        <a:pt x="19" y="155"/>
                      </a:lnTo>
                      <a:lnTo>
                        <a:pt x="19" y="195"/>
                      </a:lnTo>
                      <a:lnTo>
                        <a:pt x="57" y="249"/>
                      </a:lnTo>
                      <a:lnTo>
                        <a:pt x="57" y="269"/>
                      </a:lnTo>
                      <a:lnTo>
                        <a:pt x="89" y="269"/>
                      </a:lnTo>
                      <a:lnTo>
                        <a:pt x="109" y="290"/>
                      </a:lnTo>
                      <a:lnTo>
                        <a:pt x="128" y="290"/>
                      </a:lnTo>
                      <a:lnTo>
                        <a:pt x="147" y="269"/>
                      </a:lnTo>
                      <a:lnTo>
                        <a:pt x="167" y="209"/>
                      </a:lnTo>
                      <a:lnTo>
                        <a:pt x="199" y="155"/>
                      </a:lnTo>
                      <a:lnTo>
                        <a:pt x="218" y="114"/>
                      </a:lnTo>
                      <a:lnTo>
                        <a:pt x="237" y="94"/>
                      </a:lnTo>
                      <a:lnTo>
                        <a:pt x="257" y="9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" name="Freeform 66"/>
                <p:cNvSpPr>
                  <a:spLocks/>
                </p:cNvSpPr>
                <p:nvPr/>
              </p:nvSpPr>
              <p:spPr bwMode="blackWhite">
                <a:xfrm>
                  <a:off x="3454977" y="2271933"/>
                  <a:ext cx="332875" cy="208183"/>
                </a:xfrm>
                <a:custGeom>
                  <a:avLst/>
                  <a:gdLst>
                    <a:gd name="T0" fmla="*/ 2147483647 w 220"/>
                    <a:gd name="T1" fmla="*/ 2147483647 h 136"/>
                    <a:gd name="T2" fmla="*/ 2147483647 w 220"/>
                    <a:gd name="T3" fmla="*/ 2147483647 h 136"/>
                    <a:gd name="T4" fmla="*/ 2147483647 w 220"/>
                    <a:gd name="T5" fmla="*/ 2147483647 h 136"/>
                    <a:gd name="T6" fmla="*/ 2147483647 w 220"/>
                    <a:gd name="T7" fmla="*/ 2147483647 h 136"/>
                    <a:gd name="T8" fmla="*/ 2147483647 w 220"/>
                    <a:gd name="T9" fmla="*/ 0 h 136"/>
                    <a:gd name="T10" fmla="*/ 2147483647 w 220"/>
                    <a:gd name="T11" fmla="*/ 0 h 136"/>
                    <a:gd name="T12" fmla="*/ 2147483647 w 220"/>
                    <a:gd name="T13" fmla="*/ 2147483647 h 136"/>
                    <a:gd name="T14" fmla="*/ 2147483647 w 220"/>
                    <a:gd name="T15" fmla="*/ 2147483647 h 136"/>
                    <a:gd name="T16" fmla="*/ 0 w 220"/>
                    <a:gd name="T17" fmla="*/ 2147483647 h 136"/>
                    <a:gd name="T18" fmla="*/ 2147483647 w 220"/>
                    <a:gd name="T19" fmla="*/ 2147483647 h 136"/>
                    <a:gd name="T20" fmla="*/ 2147483647 w 220"/>
                    <a:gd name="T21" fmla="*/ 2147483647 h 136"/>
                    <a:gd name="T22" fmla="*/ 2147483647 w 220"/>
                    <a:gd name="T23" fmla="*/ 2147483647 h 136"/>
                    <a:gd name="T24" fmla="*/ 2147483647 w 220"/>
                    <a:gd name="T25" fmla="*/ 2147483647 h 136"/>
                    <a:gd name="T26" fmla="*/ 2147483647 w 220"/>
                    <a:gd name="T27" fmla="*/ 2147483647 h 136"/>
                    <a:gd name="T28" fmla="*/ 2147483647 w 220"/>
                    <a:gd name="T29" fmla="*/ 2147483647 h 136"/>
                    <a:gd name="T30" fmla="*/ 2147483647 w 220"/>
                    <a:gd name="T31" fmla="*/ 2147483647 h 136"/>
                    <a:gd name="T32" fmla="*/ 2147483647 w 220"/>
                    <a:gd name="T33" fmla="*/ 2147483647 h 136"/>
                    <a:gd name="T34" fmla="*/ 2147483647 w 220"/>
                    <a:gd name="T35" fmla="*/ 2147483647 h 136"/>
                    <a:gd name="T36" fmla="*/ 2147483647 w 220"/>
                    <a:gd name="T37" fmla="*/ 2147483647 h 1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20"/>
                    <a:gd name="T58" fmla="*/ 0 h 136"/>
                    <a:gd name="T59" fmla="*/ 220 w 220"/>
                    <a:gd name="T60" fmla="*/ 136 h 1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20" h="136">
                      <a:moveTo>
                        <a:pt x="219" y="114"/>
                      </a:move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41" y="20"/>
                      </a:lnTo>
                      <a:lnTo>
                        <a:pt x="90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32" y="60"/>
                      </a:lnTo>
                      <a:lnTo>
                        <a:pt x="0" y="114"/>
                      </a:lnTo>
                      <a:lnTo>
                        <a:pt x="19" y="114"/>
                      </a:lnTo>
                      <a:lnTo>
                        <a:pt x="51" y="101"/>
                      </a:lnTo>
                      <a:lnTo>
                        <a:pt x="70" y="81"/>
                      </a:lnTo>
                      <a:lnTo>
                        <a:pt x="90" y="101"/>
                      </a:lnTo>
                      <a:lnTo>
                        <a:pt x="51" y="135"/>
                      </a:lnTo>
                      <a:lnTo>
                        <a:pt x="128" y="135"/>
                      </a:lnTo>
                      <a:lnTo>
                        <a:pt x="128" y="101"/>
                      </a:lnTo>
                      <a:lnTo>
                        <a:pt x="141" y="101"/>
                      </a:lnTo>
                      <a:lnTo>
                        <a:pt x="161" y="114"/>
                      </a:lnTo>
                      <a:lnTo>
                        <a:pt x="219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8" name="Freeform 67"/>
                <p:cNvSpPr>
                  <a:spLocks/>
                </p:cNvSpPr>
                <p:nvPr/>
              </p:nvSpPr>
              <p:spPr bwMode="blackWhite">
                <a:xfrm>
                  <a:off x="2198292" y="3125265"/>
                  <a:ext cx="641896" cy="560575"/>
                </a:xfrm>
                <a:custGeom>
                  <a:avLst/>
                  <a:gdLst>
                    <a:gd name="T0" fmla="*/ 2147483647 w 425"/>
                    <a:gd name="T1" fmla="*/ 2147483647 h 365"/>
                    <a:gd name="T2" fmla="*/ 2147483647 w 425"/>
                    <a:gd name="T3" fmla="*/ 2147483647 h 365"/>
                    <a:gd name="T4" fmla="*/ 2147483647 w 425"/>
                    <a:gd name="T5" fmla="*/ 2147483647 h 365"/>
                    <a:gd name="T6" fmla="*/ 2147483647 w 425"/>
                    <a:gd name="T7" fmla="*/ 2147483647 h 365"/>
                    <a:gd name="T8" fmla="*/ 2147483647 w 425"/>
                    <a:gd name="T9" fmla="*/ 2147483647 h 365"/>
                    <a:gd name="T10" fmla="*/ 2147483647 w 425"/>
                    <a:gd name="T11" fmla="*/ 2147483647 h 365"/>
                    <a:gd name="T12" fmla="*/ 0 w 425"/>
                    <a:gd name="T13" fmla="*/ 2147483647 h 365"/>
                    <a:gd name="T14" fmla="*/ 0 w 425"/>
                    <a:gd name="T15" fmla="*/ 2147483647 h 365"/>
                    <a:gd name="T16" fmla="*/ 2147483647 w 425"/>
                    <a:gd name="T17" fmla="*/ 2147483647 h 365"/>
                    <a:gd name="T18" fmla="*/ 2147483647 w 425"/>
                    <a:gd name="T19" fmla="*/ 2147483647 h 365"/>
                    <a:gd name="T20" fmla="*/ 2147483647 w 425"/>
                    <a:gd name="T21" fmla="*/ 2147483647 h 365"/>
                    <a:gd name="T22" fmla="*/ 2147483647 w 425"/>
                    <a:gd name="T23" fmla="*/ 2147483647 h 365"/>
                    <a:gd name="T24" fmla="*/ 2147483647 w 425"/>
                    <a:gd name="T25" fmla="*/ 2147483647 h 365"/>
                    <a:gd name="T26" fmla="*/ 2147483647 w 425"/>
                    <a:gd name="T27" fmla="*/ 2147483647 h 365"/>
                    <a:gd name="T28" fmla="*/ 2147483647 w 425"/>
                    <a:gd name="T29" fmla="*/ 2147483647 h 365"/>
                    <a:gd name="T30" fmla="*/ 2147483647 w 425"/>
                    <a:gd name="T31" fmla="*/ 2147483647 h 365"/>
                    <a:gd name="T32" fmla="*/ 2147483647 w 425"/>
                    <a:gd name="T33" fmla="*/ 2147483647 h 365"/>
                    <a:gd name="T34" fmla="*/ 2147483647 w 425"/>
                    <a:gd name="T35" fmla="*/ 2147483647 h 365"/>
                    <a:gd name="T36" fmla="*/ 2147483647 w 425"/>
                    <a:gd name="T37" fmla="*/ 2147483647 h 365"/>
                    <a:gd name="T38" fmla="*/ 2147483647 w 425"/>
                    <a:gd name="T39" fmla="*/ 2147483647 h 365"/>
                    <a:gd name="T40" fmla="*/ 2147483647 w 425"/>
                    <a:gd name="T41" fmla="*/ 2147483647 h 365"/>
                    <a:gd name="T42" fmla="*/ 2147483647 w 425"/>
                    <a:gd name="T43" fmla="*/ 2147483647 h 365"/>
                    <a:gd name="T44" fmla="*/ 2147483647 w 425"/>
                    <a:gd name="T45" fmla="*/ 2147483647 h 365"/>
                    <a:gd name="T46" fmla="*/ 2147483647 w 425"/>
                    <a:gd name="T47" fmla="*/ 2147483647 h 365"/>
                    <a:gd name="T48" fmla="*/ 2147483647 w 425"/>
                    <a:gd name="T49" fmla="*/ 0 h 365"/>
                    <a:gd name="T50" fmla="*/ 2147483647 w 425"/>
                    <a:gd name="T51" fmla="*/ 2147483647 h 365"/>
                    <a:gd name="T52" fmla="*/ 2147483647 w 425"/>
                    <a:gd name="T53" fmla="*/ 2147483647 h 365"/>
                    <a:gd name="T54" fmla="*/ 2147483647 w 425"/>
                    <a:gd name="T55" fmla="*/ 2147483647 h 365"/>
                    <a:gd name="T56" fmla="*/ 2147483647 w 425"/>
                    <a:gd name="T57" fmla="*/ 0 h 365"/>
                    <a:gd name="T58" fmla="*/ 2147483647 w 425"/>
                    <a:gd name="T59" fmla="*/ 0 h 365"/>
                    <a:gd name="T60" fmla="*/ 2147483647 w 425"/>
                    <a:gd name="T61" fmla="*/ 2147483647 h 365"/>
                    <a:gd name="T62" fmla="*/ 2147483647 w 425"/>
                    <a:gd name="T63" fmla="*/ 2147483647 h 36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25"/>
                    <a:gd name="T97" fmla="*/ 0 h 365"/>
                    <a:gd name="T98" fmla="*/ 425 w 425"/>
                    <a:gd name="T99" fmla="*/ 365 h 36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25" h="365">
                      <a:moveTo>
                        <a:pt x="128" y="13"/>
                      </a:moveTo>
                      <a:lnTo>
                        <a:pt x="128" y="54"/>
                      </a:lnTo>
                      <a:lnTo>
                        <a:pt x="109" y="94"/>
                      </a:lnTo>
                      <a:lnTo>
                        <a:pt x="77" y="114"/>
                      </a:lnTo>
                      <a:lnTo>
                        <a:pt x="57" y="148"/>
                      </a:lnTo>
                      <a:lnTo>
                        <a:pt x="19" y="189"/>
                      </a:lnTo>
                      <a:lnTo>
                        <a:pt x="0" y="249"/>
                      </a:lnTo>
                      <a:lnTo>
                        <a:pt x="0" y="282"/>
                      </a:lnTo>
                      <a:lnTo>
                        <a:pt x="38" y="303"/>
                      </a:lnTo>
                      <a:lnTo>
                        <a:pt x="109" y="364"/>
                      </a:lnTo>
                      <a:lnTo>
                        <a:pt x="147" y="364"/>
                      </a:lnTo>
                      <a:lnTo>
                        <a:pt x="186" y="323"/>
                      </a:lnTo>
                      <a:lnTo>
                        <a:pt x="237" y="303"/>
                      </a:lnTo>
                      <a:lnTo>
                        <a:pt x="314" y="303"/>
                      </a:lnTo>
                      <a:lnTo>
                        <a:pt x="346" y="262"/>
                      </a:lnTo>
                      <a:lnTo>
                        <a:pt x="346" y="249"/>
                      </a:lnTo>
                      <a:lnTo>
                        <a:pt x="327" y="208"/>
                      </a:lnTo>
                      <a:lnTo>
                        <a:pt x="346" y="189"/>
                      </a:lnTo>
                      <a:lnTo>
                        <a:pt x="346" y="148"/>
                      </a:lnTo>
                      <a:lnTo>
                        <a:pt x="366" y="135"/>
                      </a:lnTo>
                      <a:lnTo>
                        <a:pt x="385" y="94"/>
                      </a:lnTo>
                      <a:lnTo>
                        <a:pt x="424" y="114"/>
                      </a:lnTo>
                      <a:lnTo>
                        <a:pt x="424" y="54"/>
                      </a:lnTo>
                      <a:lnTo>
                        <a:pt x="404" y="13"/>
                      </a:lnTo>
                      <a:lnTo>
                        <a:pt x="327" y="0"/>
                      </a:lnTo>
                      <a:lnTo>
                        <a:pt x="295" y="13"/>
                      </a:lnTo>
                      <a:lnTo>
                        <a:pt x="276" y="33"/>
                      </a:lnTo>
                      <a:lnTo>
                        <a:pt x="237" y="13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13"/>
                      </a:lnTo>
                      <a:lnTo>
                        <a:pt x="12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9" name="Freeform 5"/>
                <p:cNvSpPr>
                  <a:spLocks/>
                </p:cNvSpPr>
                <p:nvPr/>
              </p:nvSpPr>
              <p:spPr bwMode="blackWhite">
                <a:xfrm>
                  <a:off x="2120223" y="4013293"/>
                  <a:ext cx="555153" cy="387090"/>
                </a:xfrm>
                <a:custGeom>
                  <a:avLst/>
                  <a:gdLst>
                    <a:gd name="T0" fmla="*/ 2147483647 w 368"/>
                    <a:gd name="T1" fmla="*/ 2147483647 h 250"/>
                    <a:gd name="T2" fmla="*/ 2147483647 w 368"/>
                    <a:gd name="T3" fmla="*/ 2147483647 h 250"/>
                    <a:gd name="T4" fmla="*/ 2147483647 w 368"/>
                    <a:gd name="T5" fmla="*/ 2147483647 h 250"/>
                    <a:gd name="T6" fmla="*/ 2147483647 w 368"/>
                    <a:gd name="T7" fmla="*/ 2147483647 h 250"/>
                    <a:gd name="T8" fmla="*/ 2147483647 w 368"/>
                    <a:gd name="T9" fmla="*/ 2147483647 h 250"/>
                    <a:gd name="T10" fmla="*/ 2147483647 w 368"/>
                    <a:gd name="T11" fmla="*/ 2147483647 h 250"/>
                    <a:gd name="T12" fmla="*/ 2147483647 w 368"/>
                    <a:gd name="T13" fmla="*/ 2147483647 h 250"/>
                    <a:gd name="T14" fmla="*/ 2147483647 w 368"/>
                    <a:gd name="T15" fmla="*/ 2147483647 h 250"/>
                    <a:gd name="T16" fmla="*/ 2147483647 w 368"/>
                    <a:gd name="T17" fmla="*/ 2147483647 h 250"/>
                    <a:gd name="T18" fmla="*/ 2147483647 w 368"/>
                    <a:gd name="T19" fmla="*/ 2147483647 h 250"/>
                    <a:gd name="T20" fmla="*/ 2147483647 w 368"/>
                    <a:gd name="T21" fmla="*/ 2147483647 h 250"/>
                    <a:gd name="T22" fmla="*/ 2147483647 w 368"/>
                    <a:gd name="T23" fmla="*/ 2147483647 h 250"/>
                    <a:gd name="T24" fmla="*/ 2147483647 w 368"/>
                    <a:gd name="T25" fmla="*/ 2147483647 h 250"/>
                    <a:gd name="T26" fmla="*/ 2147483647 w 368"/>
                    <a:gd name="T27" fmla="*/ 2147483647 h 250"/>
                    <a:gd name="T28" fmla="*/ 2147483647 w 368"/>
                    <a:gd name="T29" fmla="*/ 2147483647 h 250"/>
                    <a:gd name="T30" fmla="*/ 2147483647 w 368"/>
                    <a:gd name="T31" fmla="*/ 2147483647 h 250"/>
                    <a:gd name="T32" fmla="*/ 2147483647 w 368"/>
                    <a:gd name="T33" fmla="*/ 2147483647 h 250"/>
                    <a:gd name="T34" fmla="*/ 2147483647 w 368"/>
                    <a:gd name="T35" fmla="*/ 0 h 250"/>
                    <a:gd name="T36" fmla="*/ 2147483647 w 368"/>
                    <a:gd name="T37" fmla="*/ 0 h 250"/>
                    <a:gd name="T38" fmla="*/ 2147483647 w 368"/>
                    <a:gd name="T39" fmla="*/ 2147483647 h 250"/>
                    <a:gd name="T40" fmla="*/ 2147483647 w 368"/>
                    <a:gd name="T41" fmla="*/ 2147483647 h 250"/>
                    <a:gd name="T42" fmla="*/ 2147483647 w 368"/>
                    <a:gd name="T43" fmla="*/ 2147483647 h 250"/>
                    <a:gd name="T44" fmla="*/ 2147483647 w 368"/>
                    <a:gd name="T45" fmla="*/ 2147483647 h 250"/>
                    <a:gd name="T46" fmla="*/ 0 w 368"/>
                    <a:gd name="T47" fmla="*/ 2147483647 h 250"/>
                    <a:gd name="T48" fmla="*/ 0 w 368"/>
                    <a:gd name="T49" fmla="*/ 2147483647 h 250"/>
                    <a:gd name="T50" fmla="*/ 2147483647 w 368"/>
                    <a:gd name="T51" fmla="*/ 2147483647 h 250"/>
                    <a:gd name="T52" fmla="*/ 2147483647 w 368"/>
                    <a:gd name="T53" fmla="*/ 2147483647 h 25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68"/>
                    <a:gd name="T82" fmla="*/ 0 h 250"/>
                    <a:gd name="T83" fmla="*/ 368 w 368"/>
                    <a:gd name="T84" fmla="*/ 250 h 25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68" h="250">
                      <a:moveTo>
                        <a:pt x="51" y="228"/>
                      </a:moveTo>
                      <a:lnTo>
                        <a:pt x="109" y="228"/>
                      </a:lnTo>
                      <a:lnTo>
                        <a:pt x="180" y="249"/>
                      </a:lnTo>
                      <a:lnTo>
                        <a:pt x="199" y="228"/>
                      </a:lnTo>
                      <a:lnTo>
                        <a:pt x="238" y="208"/>
                      </a:lnTo>
                      <a:lnTo>
                        <a:pt x="270" y="208"/>
                      </a:lnTo>
                      <a:lnTo>
                        <a:pt x="309" y="228"/>
                      </a:lnTo>
                      <a:lnTo>
                        <a:pt x="328" y="228"/>
                      </a:lnTo>
                      <a:lnTo>
                        <a:pt x="328" y="188"/>
                      </a:lnTo>
                      <a:lnTo>
                        <a:pt x="367" y="147"/>
                      </a:lnTo>
                      <a:lnTo>
                        <a:pt x="347" y="147"/>
                      </a:lnTo>
                      <a:lnTo>
                        <a:pt x="309" y="113"/>
                      </a:lnTo>
                      <a:lnTo>
                        <a:pt x="289" y="113"/>
                      </a:lnTo>
                      <a:lnTo>
                        <a:pt x="257" y="54"/>
                      </a:lnTo>
                      <a:lnTo>
                        <a:pt x="238" y="33"/>
                      </a:lnTo>
                      <a:lnTo>
                        <a:pt x="218" y="20"/>
                      </a:lnTo>
                      <a:lnTo>
                        <a:pt x="160" y="20"/>
                      </a:lnTo>
                      <a:lnTo>
                        <a:pt x="109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19" y="73"/>
                      </a:lnTo>
                      <a:lnTo>
                        <a:pt x="19" y="113"/>
                      </a:lnTo>
                      <a:lnTo>
                        <a:pt x="19" y="147"/>
                      </a:lnTo>
                      <a:lnTo>
                        <a:pt x="0" y="167"/>
                      </a:lnTo>
                      <a:lnTo>
                        <a:pt x="0" y="188"/>
                      </a:lnTo>
                      <a:lnTo>
                        <a:pt x="38" y="208"/>
                      </a:lnTo>
                      <a:lnTo>
                        <a:pt x="51" y="228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0" name="Freeform 6"/>
                <p:cNvSpPr>
                  <a:spLocks/>
                </p:cNvSpPr>
                <p:nvPr/>
              </p:nvSpPr>
              <p:spPr bwMode="blackWhite">
                <a:xfrm>
                  <a:off x="2228652" y="3738970"/>
                  <a:ext cx="721049" cy="505276"/>
                </a:xfrm>
                <a:custGeom>
                  <a:avLst/>
                  <a:gdLst>
                    <a:gd name="T0" fmla="*/ 2147483647 w 477"/>
                    <a:gd name="T1" fmla="*/ 2147483647 h 324"/>
                    <a:gd name="T2" fmla="*/ 2147483647 w 477"/>
                    <a:gd name="T3" fmla="*/ 2147483647 h 324"/>
                    <a:gd name="T4" fmla="*/ 2147483647 w 477"/>
                    <a:gd name="T5" fmla="*/ 2147483647 h 324"/>
                    <a:gd name="T6" fmla="*/ 2147483647 w 477"/>
                    <a:gd name="T7" fmla="*/ 2147483647 h 324"/>
                    <a:gd name="T8" fmla="*/ 2147483647 w 477"/>
                    <a:gd name="T9" fmla="*/ 2147483647 h 324"/>
                    <a:gd name="T10" fmla="*/ 2147483647 w 477"/>
                    <a:gd name="T11" fmla="*/ 2147483647 h 324"/>
                    <a:gd name="T12" fmla="*/ 2147483647 w 477"/>
                    <a:gd name="T13" fmla="*/ 2147483647 h 324"/>
                    <a:gd name="T14" fmla="*/ 2147483647 w 477"/>
                    <a:gd name="T15" fmla="*/ 2147483647 h 324"/>
                    <a:gd name="T16" fmla="*/ 2147483647 w 477"/>
                    <a:gd name="T17" fmla="*/ 2147483647 h 324"/>
                    <a:gd name="T18" fmla="*/ 2147483647 w 477"/>
                    <a:gd name="T19" fmla="*/ 2147483647 h 324"/>
                    <a:gd name="T20" fmla="*/ 2147483647 w 477"/>
                    <a:gd name="T21" fmla="*/ 2147483647 h 324"/>
                    <a:gd name="T22" fmla="*/ 2147483647 w 477"/>
                    <a:gd name="T23" fmla="*/ 0 h 324"/>
                    <a:gd name="T24" fmla="*/ 2147483647 w 477"/>
                    <a:gd name="T25" fmla="*/ 2147483647 h 324"/>
                    <a:gd name="T26" fmla="*/ 2147483647 w 477"/>
                    <a:gd name="T27" fmla="*/ 0 h 324"/>
                    <a:gd name="T28" fmla="*/ 2147483647 w 477"/>
                    <a:gd name="T29" fmla="*/ 0 h 324"/>
                    <a:gd name="T30" fmla="*/ 2147483647 w 477"/>
                    <a:gd name="T31" fmla="*/ 2147483647 h 324"/>
                    <a:gd name="T32" fmla="*/ 2147483647 w 477"/>
                    <a:gd name="T33" fmla="*/ 2147483647 h 324"/>
                    <a:gd name="T34" fmla="*/ 2147483647 w 477"/>
                    <a:gd name="T35" fmla="*/ 2147483647 h 324"/>
                    <a:gd name="T36" fmla="*/ 0 w 477"/>
                    <a:gd name="T37" fmla="*/ 2147483647 h 324"/>
                    <a:gd name="T38" fmla="*/ 2147483647 w 477"/>
                    <a:gd name="T39" fmla="*/ 2147483647 h 324"/>
                    <a:gd name="T40" fmla="*/ 2147483647 w 477"/>
                    <a:gd name="T41" fmla="*/ 2147483647 h 324"/>
                    <a:gd name="T42" fmla="*/ 2147483647 w 477"/>
                    <a:gd name="T43" fmla="*/ 2147483647 h 324"/>
                    <a:gd name="T44" fmla="*/ 2147483647 w 477"/>
                    <a:gd name="T45" fmla="*/ 2147483647 h 324"/>
                    <a:gd name="T46" fmla="*/ 2147483647 w 477"/>
                    <a:gd name="T47" fmla="*/ 2147483647 h 324"/>
                    <a:gd name="T48" fmla="*/ 2147483647 w 477"/>
                    <a:gd name="T49" fmla="*/ 2147483647 h 324"/>
                    <a:gd name="T50" fmla="*/ 2147483647 w 477"/>
                    <a:gd name="T51" fmla="*/ 2147483647 h 324"/>
                    <a:gd name="T52" fmla="*/ 2147483647 w 477"/>
                    <a:gd name="T53" fmla="*/ 2147483647 h 324"/>
                    <a:gd name="T54" fmla="*/ 2147483647 w 477"/>
                    <a:gd name="T55" fmla="*/ 2147483647 h 324"/>
                    <a:gd name="T56" fmla="*/ 2147483647 w 477"/>
                    <a:gd name="T57" fmla="*/ 2147483647 h 324"/>
                    <a:gd name="T58" fmla="*/ 2147483647 w 477"/>
                    <a:gd name="T59" fmla="*/ 2147483647 h 324"/>
                    <a:gd name="T60" fmla="*/ 2147483647 w 477"/>
                    <a:gd name="T61" fmla="*/ 2147483647 h 324"/>
                    <a:gd name="T62" fmla="*/ 2147483647 w 477"/>
                    <a:gd name="T63" fmla="*/ 2147483647 h 32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77"/>
                    <a:gd name="T97" fmla="*/ 0 h 324"/>
                    <a:gd name="T98" fmla="*/ 477 w 477"/>
                    <a:gd name="T99" fmla="*/ 324 h 32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77" h="324">
                      <a:moveTo>
                        <a:pt x="456" y="209"/>
                      </a:moveTo>
                      <a:lnTo>
                        <a:pt x="456" y="195"/>
                      </a:lnTo>
                      <a:lnTo>
                        <a:pt x="476" y="175"/>
                      </a:lnTo>
                      <a:lnTo>
                        <a:pt x="437" y="175"/>
                      </a:lnTo>
                      <a:lnTo>
                        <a:pt x="405" y="175"/>
                      </a:lnTo>
                      <a:lnTo>
                        <a:pt x="366" y="155"/>
                      </a:lnTo>
                      <a:lnTo>
                        <a:pt x="347" y="114"/>
                      </a:lnTo>
                      <a:lnTo>
                        <a:pt x="347" y="94"/>
                      </a:lnTo>
                      <a:lnTo>
                        <a:pt x="328" y="80"/>
                      </a:lnTo>
                      <a:lnTo>
                        <a:pt x="328" y="40"/>
                      </a:lnTo>
                      <a:lnTo>
                        <a:pt x="308" y="20"/>
                      </a:lnTo>
                      <a:lnTo>
                        <a:pt x="276" y="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28" y="0"/>
                      </a:lnTo>
                      <a:lnTo>
                        <a:pt x="90" y="60"/>
                      </a:lnTo>
                      <a:lnTo>
                        <a:pt x="57" y="114"/>
                      </a:lnTo>
                      <a:lnTo>
                        <a:pt x="19" y="155"/>
                      </a:lnTo>
                      <a:lnTo>
                        <a:pt x="0" y="175"/>
                      </a:lnTo>
                      <a:lnTo>
                        <a:pt x="38" y="175"/>
                      </a:lnTo>
                      <a:lnTo>
                        <a:pt x="90" y="195"/>
                      </a:lnTo>
                      <a:lnTo>
                        <a:pt x="147" y="195"/>
                      </a:lnTo>
                      <a:lnTo>
                        <a:pt x="167" y="209"/>
                      </a:lnTo>
                      <a:lnTo>
                        <a:pt x="186" y="229"/>
                      </a:lnTo>
                      <a:lnTo>
                        <a:pt x="218" y="289"/>
                      </a:lnTo>
                      <a:lnTo>
                        <a:pt x="238" y="289"/>
                      </a:lnTo>
                      <a:lnTo>
                        <a:pt x="276" y="323"/>
                      </a:lnTo>
                      <a:lnTo>
                        <a:pt x="295" y="323"/>
                      </a:lnTo>
                      <a:lnTo>
                        <a:pt x="308" y="309"/>
                      </a:lnTo>
                      <a:lnTo>
                        <a:pt x="366" y="269"/>
                      </a:lnTo>
                      <a:lnTo>
                        <a:pt x="418" y="229"/>
                      </a:lnTo>
                      <a:lnTo>
                        <a:pt x="456" y="209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1" name="Freeform 7"/>
                <p:cNvSpPr>
                  <a:spLocks/>
                </p:cNvSpPr>
                <p:nvPr/>
              </p:nvSpPr>
              <p:spPr bwMode="blackWhite">
                <a:xfrm>
                  <a:off x="2201544" y="4332072"/>
                  <a:ext cx="416365" cy="325285"/>
                </a:xfrm>
                <a:custGeom>
                  <a:avLst/>
                  <a:gdLst>
                    <a:gd name="T0" fmla="*/ 2147483647 w 277"/>
                    <a:gd name="T1" fmla="*/ 2147483647 h 210"/>
                    <a:gd name="T2" fmla="*/ 2147483647 w 277"/>
                    <a:gd name="T3" fmla="*/ 2147483647 h 210"/>
                    <a:gd name="T4" fmla="*/ 2147483647 w 277"/>
                    <a:gd name="T5" fmla="*/ 2147483647 h 210"/>
                    <a:gd name="T6" fmla="*/ 2147483647 w 277"/>
                    <a:gd name="T7" fmla="*/ 2147483647 h 210"/>
                    <a:gd name="T8" fmla="*/ 2147483647 w 277"/>
                    <a:gd name="T9" fmla="*/ 2147483647 h 210"/>
                    <a:gd name="T10" fmla="*/ 2147483647 w 277"/>
                    <a:gd name="T11" fmla="*/ 0 h 210"/>
                    <a:gd name="T12" fmla="*/ 2147483647 w 277"/>
                    <a:gd name="T13" fmla="*/ 0 h 210"/>
                    <a:gd name="T14" fmla="*/ 2147483647 w 277"/>
                    <a:gd name="T15" fmla="*/ 2147483647 h 210"/>
                    <a:gd name="T16" fmla="*/ 2147483647 w 277"/>
                    <a:gd name="T17" fmla="*/ 2147483647 h 210"/>
                    <a:gd name="T18" fmla="*/ 2147483647 w 277"/>
                    <a:gd name="T19" fmla="*/ 2147483647 h 210"/>
                    <a:gd name="T20" fmla="*/ 0 w 277"/>
                    <a:gd name="T21" fmla="*/ 2147483647 h 210"/>
                    <a:gd name="T22" fmla="*/ 0 w 277"/>
                    <a:gd name="T23" fmla="*/ 2147483647 h 210"/>
                    <a:gd name="T24" fmla="*/ 2147483647 w 277"/>
                    <a:gd name="T25" fmla="*/ 2147483647 h 210"/>
                    <a:gd name="T26" fmla="*/ 2147483647 w 277"/>
                    <a:gd name="T27" fmla="*/ 2147483647 h 210"/>
                    <a:gd name="T28" fmla="*/ 2147483647 w 277"/>
                    <a:gd name="T29" fmla="*/ 2147483647 h 210"/>
                    <a:gd name="T30" fmla="*/ 2147483647 w 277"/>
                    <a:gd name="T31" fmla="*/ 2147483647 h 210"/>
                    <a:gd name="T32" fmla="*/ 2147483647 w 277"/>
                    <a:gd name="T33" fmla="*/ 2147483647 h 210"/>
                    <a:gd name="T34" fmla="*/ 2147483647 w 277"/>
                    <a:gd name="T35" fmla="*/ 2147483647 h 210"/>
                    <a:gd name="T36" fmla="*/ 2147483647 w 277"/>
                    <a:gd name="T37" fmla="*/ 2147483647 h 210"/>
                    <a:gd name="T38" fmla="*/ 2147483647 w 277"/>
                    <a:gd name="T39" fmla="*/ 2147483647 h 2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77"/>
                    <a:gd name="T61" fmla="*/ 0 h 210"/>
                    <a:gd name="T62" fmla="*/ 277 w 277"/>
                    <a:gd name="T63" fmla="*/ 210 h 2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77" h="210">
                      <a:moveTo>
                        <a:pt x="218" y="209"/>
                      </a:moveTo>
                      <a:lnTo>
                        <a:pt x="256" y="155"/>
                      </a:lnTo>
                      <a:lnTo>
                        <a:pt x="276" y="74"/>
                      </a:lnTo>
                      <a:lnTo>
                        <a:pt x="276" y="20"/>
                      </a:lnTo>
                      <a:lnTo>
                        <a:pt x="256" y="20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28" y="40"/>
                      </a:lnTo>
                      <a:lnTo>
                        <a:pt x="57" y="20"/>
                      </a:lnTo>
                      <a:lnTo>
                        <a:pt x="0" y="20"/>
                      </a:lnTo>
                      <a:lnTo>
                        <a:pt x="0" y="74"/>
                      </a:lnTo>
                      <a:lnTo>
                        <a:pt x="57" y="74"/>
                      </a:lnTo>
                      <a:lnTo>
                        <a:pt x="109" y="94"/>
                      </a:lnTo>
                      <a:lnTo>
                        <a:pt x="128" y="114"/>
                      </a:lnTo>
                      <a:lnTo>
                        <a:pt x="166" y="134"/>
                      </a:lnTo>
                      <a:lnTo>
                        <a:pt x="186" y="155"/>
                      </a:lnTo>
                      <a:lnTo>
                        <a:pt x="205" y="155"/>
                      </a:lnTo>
                      <a:lnTo>
                        <a:pt x="205" y="188"/>
                      </a:lnTo>
                      <a:lnTo>
                        <a:pt x="218" y="209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2" name="Freeform 8"/>
                <p:cNvSpPr>
                  <a:spLocks/>
                </p:cNvSpPr>
                <p:nvPr/>
              </p:nvSpPr>
              <p:spPr bwMode="blackWhite">
                <a:xfrm>
                  <a:off x="2888981" y="3833302"/>
                  <a:ext cx="387090" cy="229868"/>
                </a:xfrm>
                <a:custGeom>
                  <a:avLst/>
                  <a:gdLst>
                    <a:gd name="T0" fmla="*/ 2147483647 w 257"/>
                    <a:gd name="T1" fmla="*/ 2147483647 h 149"/>
                    <a:gd name="T2" fmla="*/ 2147483647 w 257"/>
                    <a:gd name="T3" fmla="*/ 2147483647 h 149"/>
                    <a:gd name="T4" fmla="*/ 2147483647 w 257"/>
                    <a:gd name="T5" fmla="*/ 2147483647 h 149"/>
                    <a:gd name="T6" fmla="*/ 0 w 257"/>
                    <a:gd name="T7" fmla="*/ 2147483647 h 149"/>
                    <a:gd name="T8" fmla="*/ 2147483647 w 257"/>
                    <a:gd name="T9" fmla="*/ 2147483647 h 149"/>
                    <a:gd name="T10" fmla="*/ 2147483647 w 257"/>
                    <a:gd name="T11" fmla="*/ 2147483647 h 149"/>
                    <a:gd name="T12" fmla="*/ 2147483647 w 257"/>
                    <a:gd name="T13" fmla="*/ 2147483647 h 149"/>
                    <a:gd name="T14" fmla="*/ 2147483647 w 257"/>
                    <a:gd name="T15" fmla="*/ 2147483647 h 149"/>
                    <a:gd name="T16" fmla="*/ 2147483647 w 257"/>
                    <a:gd name="T17" fmla="*/ 2147483647 h 149"/>
                    <a:gd name="T18" fmla="*/ 2147483647 w 257"/>
                    <a:gd name="T19" fmla="*/ 0 h 149"/>
                    <a:gd name="T20" fmla="*/ 2147483647 w 257"/>
                    <a:gd name="T21" fmla="*/ 2147483647 h 149"/>
                    <a:gd name="T22" fmla="*/ 2147483647 w 257"/>
                    <a:gd name="T23" fmla="*/ 2147483647 h 149"/>
                    <a:gd name="T24" fmla="*/ 2147483647 w 257"/>
                    <a:gd name="T25" fmla="*/ 2147483647 h 149"/>
                    <a:gd name="T26" fmla="*/ 2147483647 w 257"/>
                    <a:gd name="T27" fmla="*/ 2147483647 h 149"/>
                    <a:gd name="T28" fmla="*/ 2147483647 w 257"/>
                    <a:gd name="T29" fmla="*/ 2147483647 h 149"/>
                    <a:gd name="T30" fmla="*/ 2147483647 w 257"/>
                    <a:gd name="T31" fmla="*/ 2147483647 h 149"/>
                    <a:gd name="T32" fmla="*/ 2147483647 w 257"/>
                    <a:gd name="T33" fmla="*/ 2147483647 h 149"/>
                    <a:gd name="T34" fmla="*/ 2147483647 w 257"/>
                    <a:gd name="T35" fmla="*/ 2147483647 h 14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57"/>
                    <a:gd name="T55" fmla="*/ 0 h 149"/>
                    <a:gd name="T56" fmla="*/ 257 w 257"/>
                    <a:gd name="T57" fmla="*/ 149 h 14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57" h="149">
                      <a:moveTo>
                        <a:pt x="19" y="148"/>
                      </a:moveTo>
                      <a:lnTo>
                        <a:pt x="19" y="134"/>
                      </a:lnTo>
                      <a:lnTo>
                        <a:pt x="38" y="114"/>
                      </a:lnTo>
                      <a:lnTo>
                        <a:pt x="0" y="114"/>
                      </a:lnTo>
                      <a:lnTo>
                        <a:pt x="38" y="94"/>
                      </a:lnTo>
                      <a:lnTo>
                        <a:pt x="76" y="74"/>
                      </a:lnTo>
                      <a:lnTo>
                        <a:pt x="108" y="74"/>
                      </a:lnTo>
                      <a:lnTo>
                        <a:pt x="146" y="53"/>
                      </a:lnTo>
                      <a:lnTo>
                        <a:pt x="166" y="20"/>
                      </a:lnTo>
                      <a:lnTo>
                        <a:pt x="185" y="0"/>
                      </a:lnTo>
                      <a:lnTo>
                        <a:pt x="198" y="33"/>
                      </a:lnTo>
                      <a:lnTo>
                        <a:pt x="256" y="33"/>
                      </a:lnTo>
                      <a:lnTo>
                        <a:pt x="236" y="53"/>
                      </a:lnTo>
                      <a:lnTo>
                        <a:pt x="236" y="74"/>
                      </a:lnTo>
                      <a:lnTo>
                        <a:pt x="198" y="94"/>
                      </a:lnTo>
                      <a:lnTo>
                        <a:pt x="185" y="134"/>
                      </a:lnTo>
                      <a:lnTo>
                        <a:pt x="89" y="134"/>
                      </a:lnTo>
                      <a:lnTo>
                        <a:pt x="19" y="14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" name="Freeform 9"/>
                <p:cNvSpPr>
                  <a:spLocks/>
                </p:cNvSpPr>
                <p:nvPr/>
              </p:nvSpPr>
              <p:spPr bwMode="blackWhite">
                <a:xfrm>
                  <a:off x="3167641" y="3566569"/>
                  <a:ext cx="216857" cy="329622"/>
                </a:xfrm>
                <a:custGeom>
                  <a:avLst/>
                  <a:gdLst>
                    <a:gd name="T0" fmla="*/ 2147483647 w 142"/>
                    <a:gd name="T1" fmla="*/ 2147483647 h 211"/>
                    <a:gd name="T2" fmla="*/ 2147483647 w 142"/>
                    <a:gd name="T3" fmla="*/ 2147483647 h 211"/>
                    <a:gd name="T4" fmla="*/ 2147483647 w 142"/>
                    <a:gd name="T5" fmla="*/ 2147483647 h 211"/>
                    <a:gd name="T6" fmla="*/ 2147483647 w 142"/>
                    <a:gd name="T7" fmla="*/ 2147483647 h 211"/>
                    <a:gd name="T8" fmla="*/ 2147483647 w 142"/>
                    <a:gd name="T9" fmla="*/ 0 h 211"/>
                    <a:gd name="T10" fmla="*/ 2147483647 w 142"/>
                    <a:gd name="T11" fmla="*/ 0 h 211"/>
                    <a:gd name="T12" fmla="*/ 2147483647 w 142"/>
                    <a:gd name="T13" fmla="*/ 2147483647 h 211"/>
                    <a:gd name="T14" fmla="*/ 2147483647 w 142"/>
                    <a:gd name="T15" fmla="*/ 2147483647 h 211"/>
                    <a:gd name="T16" fmla="*/ 2147483647 w 142"/>
                    <a:gd name="T17" fmla="*/ 2147483647 h 211"/>
                    <a:gd name="T18" fmla="*/ 2147483647 w 142"/>
                    <a:gd name="T19" fmla="*/ 2147483647 h 211"/>
                    <a:gd name="T20" fmla="*/ 2147483647 w 142"/>
                    <a:gd name="T21" fmla="*/ 2147483647 h 211"/>
                    <a:gd name="T22" fmla="*/ 0 w 142"/>
                    <a:gd name="T23" fmla="*/ 2147483647 h 211"/>
                    <a:gd name="T24" fmla="*/ 2147483647 w 142"/>
                    <a:gd name="T25" fmla="*/ 2147483647 h 211"/>
                    <a:gd name="T26" fmla="*/ 2147483647 w 142"/>
                    <a:gd name="T27" fmla="*/ 2147483647 h 2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2"/>
                    <a:gd name="T43" fmla="*/ 0 h 211"/>
                    <a:gd name="T44" fmla="*/ 142 w 142"/>
                    <a:gd name="T45" fmla="*/ 211 h 2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2" h="211">
                      <a:moveTo>
                        <a:pt x="70" y="210"/>
                      </a:moveTo>
                      <a:lnTo>
                        <a:pt x="108" y="135"/>
                      </a:lnTo>
                      <a:lnTo>
                        <a:pt x="121" y="60"/>
                      </a:lnTo>
                      <a:lnTo>
                        <a:pt x="141" y="20"/>
                      </a:lnTo>
                      <a:lnTo>
                        <a:pt x="121" y="0"/>
                      </a:lnTo>
                      <a:lnTo>
                        <a:pt x="89" y="0"/>
                      </a:lnTo>
                      <a:lnTo>
                        <a:pt x="70" y="20"/>
                      </a:lnTo>
                      <a:lnTo>
                        <a:pt x="70" y="40"/>
                      </a:lnTo>
                      <a:lnTo>
                        <a:pt x="51" y="81"/>
                      </a:lnTo>
                      <a:lnTo>
                        <a:pt x="51" y="94"/>
                      </a:lnTo>
                      <a:lnTo>
                        <a:pt x="12" y="135"/>
                      </a:lnTo>
                      <a:lnTo>
                        <a:pt x="0" y="176"/>
                      </a:lnTo>
                      <a:lnTo>
                        <a:pt x="12" y="210"/>
                      </a:lnTo>
                      <a:lnTo>
                        <a:pt x="70" y="210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4" name="Freeform 10"/>
                <p:cNvSpPr>
                  <a:spLocks/>
                </p:cNvSpPr>
                <p:nvPr/>
              </p:nvSpPr>
              <p:spPr bwMode="blackWhite">
                <a:xfrm>
                  <a:off x="2421654" y="3240199"/>
                  <a:ext cx="962844" cy="773095"/>
                </a:xfrm>
                <a:custGeom>
                  <a:avLst/>
                  <a:gdLst>
                    <a:gd name="T0" fmla="*/ 2147483647 w 637"/>
                    <a:gd name="T1" fmla="*/ 2147483647 h 500"/>
                    <a:gd name="T2" fmla="*/ 2147483647 w 637"/>
                    <a:gd name="T3" fmla="*/ 2147483647 h 500"/>
                    <a:gd name="T4" fmla="*/ 2147483647 w 637"/>
                    <a:gd name="T5" fmla="*/ 2147483647 h 500"/>
                    <a:gd name="T6" fmla="*/ 2147483647 w 637"/>
                    <a:gd name="T7" fmla="*/ 2147483647 h 500"/>
                    <a:gd name="T8" fmla="*/ 2147483647 w 637"/>
                    <a:gd name="T9" fmla="*/ 2147483647 h 500"/>
                    <a:gd name="T10" fmla="*/ 2147483647 w 637"/>
                    <a:gd name="T11" fmla="*/ 2147483647 h 500"/>
                    <a:gd name="T12" fmla="*/ 2147483647 w 637"/>
                    <a:gd name="T13" fmla="*/ 2147483647 h 500"/>
                    <a:gd name="T14" fmla="*/ 2147483647 w 637"/>
                    <a:gd name="T15" fmla="*/ 2147483647 h 500"/>
                    <a:gd name="T16" fmla="*/ 2147483647 w 637"/>
                    <a:gd name="T17" fmla="*/ 2147483647 h 500"/>
                    <a:gd name="T18" fmla="*/ 2147483647 w 637"/>
                    <a:gd name="T19" fmla="*/ 2147483647 h 500"/>
                    <a:gd name="T20" fmla="*/ 2147483647 w 637"/>
                    <a:gd name="T21" fmla="*/ 2147483647 h 500"/>
                    <a:gd name="T22" fmla="*/ 2147483647 w 637"/>
                    <a:gd name="T23" fmla="*/ 0 h 500"/>
                    <a:gd name="T24" fmla="*/ 2147483647 w 637"/>
                    <a:gd name="T25" fmla="*/ 0 h 500"/>
                    <a:gd name="T26" fmla="*/ 2147483647 w 637"/>
                    <a:gd name="T27" fmla="*/ 2147483647 h 500"/>
                    <a:gd name="T28" fmla="*/ 2147483647 w 637"/>
                    <a:gd name="T29" fmla="*/ 2147483647 h 500"/>
                    <a:gd name="T30" fmla="*/ 2147483647 w 637"/>
                    <a:gd name="T31" fmla="*/ 2147483647 h 500"/>
                    <a:gd name="T32" fmla="*/ 2147483647 w 637"/>
                    <a:gd name="T33" fmla="*/ 2147483647 h 500"/>
                    <a:gd name="T34" fmla="*/ 2147483647 w 637"/>
                    <a:gd name="T35" fmla="*/ 2147483647 h 500"/>
                    <a:gd name="T36" fmla="*/ 2147483647 w 637"/>
                    <a:gd name="T37" fmla="*/ 2147483647 h 500"/>
                    <a:gd name="T38" fmla="*/ 2147483647 w 637"/>
                    <a:gd name="T39" fmla="*/ 2147483647 h 500"/>
                    <a:gd name="T40" fmla="*/ 2147483647 w 637"/>
                    <a:gd name="T41" fmla="*/ 2147483647 h 500"/>
                    <a:gd name="T42" fmla="*/ 2147483647 w 637"/>
                    <a:gd name="T43" fmla="*/ 2147483647 h 500"/>
                    <a:gd name="T44" fmla="*/ 2147483647 w 637"/>
                    <a:gd name="T45" fmla="*/ 2147483647 h 500"/>
                    <a:gd name="T46" fmla="*/ 2147483647 w 637"/>
                    <a:gd name="T47" fmla="*/ 2147483647 h 500"/>
                    <a:gd name="T48" fmla="*/ 2147483647 w 637"/>
                    <a:gd name="T49" fmla="*/ 2147483647 h 500"/>
                    <a:gd name="T50" fmla="*/ 0 w 637"/>
                    <a:gd name="T51" fmla="*/ 2147483647 h 500"/>
                    <a:gd name="T52" fmla="*/ 0 w 637"/>
                    <a:gd name="T53" fmla="*/ 2147483647 h 500"/>
                    <a:gd name="T54" fmla="*/ 2147483647 w 637"/>
                    <a:gd name="T55" fmla="*/ 2147483647 h 500"/>
                    <a:gd name="T56" fmla="*/ 2147483647 w 637"/>
                    <a:gd name="T57" fmla="*/ 2147483647 h 500"/>
                    <a:gd name="T58" fmla="*/ 2147483647 w 637"/>
                    <a:gd name="T59" fmla="*/ 2147483647 h 500"/>
                    <a:gd name="T60" fmla="*/ 2147483647 w 637"/>
                    <a:gd name="T61" fmla="*/ 2147483647 h 500"/>
                    <a:gd name="T62" fmla="*/ 2147483647 w 637"/>
                    <a:gd name="T63" fmla="*/ 2147483647 h 500"/>
                    <a:gd name="T64" fmla="*/ 2147483647 w 637"/>
                    <a:gd name="T65" fmla="*/ 2147483647 h 500"/>
                    <a:gd name="T66" fmla="*/ 2147483647 w 637"/>
                    <a:gd name="T67" fmla="*/ 2147483647 h 500"/>
                    <a:gd name="T68" fmla="*/ 2147483647 w 637"/>
                    <a:gd name="T69" fmla="*/ 2147483647 h 500"/>
                    <a:gd name="T70" fmla="*/ 2147483647 w 637"/>
                    <a:gd name="T71" fmla="*/ 2147483647 h 500"/>
                    <a:gd name="T72" fmla="*/ 2147483647 w 637"/>
                    <a:gd name="T73" fmla="*/ 2147483647 h 500"/>
                    <a:gd name="T74" fmla="*/ 2147483647 w 637"/>
                    <a:gd name="T75" fmla="*/ 2147483647 h 500"/>
                    <a:gd name="T76" fmla="*/ 2147483647 w 637"/>
                    <a:gd name="T77" fmla="*/ 2147483647 h 500"/>
                    <a:gd name="T78" fmla="*/ 2147483647 w 637"/>
                    <a:gd name="T79" fmla="*/ 2147483647 h 500"/>
                    <a:gd name="T80" fmla="*/ 2147483647 w 637"/>
                    <a:gd name="T81" fmla="*/ 2147483647 h 500"/>
                    <a:gd name="T82" fmla="*/ 2147483647 w 637"/>
                    <a:gd name="T83" fmla="*/ 2147483647 h 500"/>
                    <a:gd name="T84" fmla="*/ 2147483647 w 637"/>
                    <a:gd name="T85" fmla="*/ 2147483647 h 500"/>
                    <a:gd name="T86" fmla="*/ 2147483647 w 637"/>
                    <a:gd name="T87" fmla="*/ 2147483647 h 500"/>
                    <a:gd name="T88" fmla="*/ 2147483647 w 637"/>
                    <a:gd name="T89" fmla="*/ 2147483647 h 500"/>
                    <a:gd name="T90" fmla="*/ 2147483647 w 637"/>
                    <a:gd name="T91" fmla="*/ 2147483647 h 500"/>
                    <a:gd name="T92" fmla="*/ 2147483647 w 637"/>
                    <a:gd name="T93" fmla="*/ 2147483647 h 500"/>
                    <a:gd name="T94" fmla="*/ 2147483647 w 637"/>
                    <a:gd name="T95" fmla="*/ 2147483647 h 500"/>
                    <a:gd name="T96" fmla="*/ 2147483647 w 637"/>
                    <a:gd name="T97" fmla="*/ 2147483647 h 500"/>
                    <a:gd name="T98" fmla="*/ 2147483647 w 637"/>
                    <a:gd name="T99" fmla="*/ 2147483647 h 500"/>
                    <a:gd name="T100" fmla="*/ 2147483647 w 637"/>
                    <a:gd name="T101" fmla="*/ 2147483647 h 500"/>
                    <a:gd name="T102" fmla="*/ 2147483647 w 637"/>
                    <a:gd name="T103" fmla="*/ 2147483647 h 5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37"/>
                    <a:gd name="T157" fmla="*/ 0 h 500"/>
                    <a:gd name="T158" fmla="*/ 637 w 637"/>
                    <a:gd name="T159" fmla="*/ 500 h 5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37" h="500">
                      <a:moveTo>
                        <a:pt x="616" y="188"/>
                      </a:moveTo>
                      <a:lnTo>
                        <a:pt x="603" y="174"/>
                      </a:lnTo>
                      <a:lnTo>
                        <a:pt x="616" y="134"/>
                      </a:lnTo>
                      <a:lnTo>
                        <a:pt x="636" y="114"/>
                      </a:lnTo>
                      <a:lnTo>
                        <a:pt x="636" y="94"/>
                      </a:lnTo>
                      <a:lnTo>
                        <a:pt x="584" y="74"/>
                      </a:lnTo>
                      <a:lnTo>
                        <a:pt x="565" y="74"/>
                      </a:lnTo>
                      <a:lnTo>
                        <a:pt x="526" y="40"/>
                      </a:lnTo>
                      <a:lnTo>
                        <a:pt x="494" y="40"/>
                      </a:lnTo>
                      <a:lnTo>
                        <a:pt x="455" y="20"/>
                      </a:lnTo>
                      <a:lnTo>
                        <a:pt x="417" y="20"/>
                      </a:lnTo>
                      <a:lnTo>
                        <a:pt x="385" y="0"/>
                      </a:lnTo>
                      <a:lnTo>
                        <a:pt x="328" y="0"/>
                      </a:lnTo>
                      <a:lnTo>
                        <a:pt x="308" y="20"/>
                      </a:lnTo>
                      <a:lnTo>
                        <a:pt x="276" y="40"/>
                      </a:lnTo>
                      <a:lnTo>
                        <a:pt x="237" y="20"/>
                      </a:lnTo>
                      <a:lnTo>
                        <a:pt x="218" y="60"/>
                      </a:lnTo>
                      <a:lnTo>
                        <a:pt x="199" y="74"/>
                      </a:lnTo>
                      <a:lnTo>
                        <a:pt x="199" y="114"/>
                      </a:lnTo>
                      <a:lnTo>
                        <a:pt x="180" y="134"/>
                      </a:lnTo>
                      <a:lnTo>
                        <a:pt x="199" y="174"/>
                      </a:lnTo>
                      <a:lnTo>
                        <a:pt x="199" y="188"/>
                      </a:lnTo>
                      <a:lnTo>
                        <a:pt x="167" y="228"/>
                      </a:lnTo>
                      <a:lnTo>
                        <a:pt x="90" y="228"/>
                      </a:lnTo>
                      <a:lnTo>
                        <a:pt x="38" y="249"/>
                      </a:lnTo>
                      <a:lnTo>
                        <a:pt x="0" y="289"/>
                      </a:lnTo>
                      <a:lnTo>
                        <a:pt x="0" y="323"/>
                      </a:lnTo>
                      <a:lnTo>
                        <a:pt x="57" y="323"/>
                      </a:lnTo>
                      <a:lnTo>
                        <a:pt x="90" y="343"/>
                      </a:lnTo>
                      <a:lnTo>
                        <a:pt x="147" y="323"/>
                      </a:lnTo>
                      <a:lnTo>
                        <a:pt x="180" y="343"/>
                      </a:lnTo>
                      <a:lnTo>
                        <a:pt x="199" y="363"/>
                      </a:lnTo>
                      <a:lnTo>
                        <a:pt x="199" y="404"/>
                      </a:lnTo>
                      <a:lnTo>
                        <a:pt x="218" y="417"/>
                      </a:lnTo>
                      <a:lnTo>
                        <a:pt x="218" y="438"/>
                      </a:lnTo>
                      <a:lnTo>
                        <a:pt x="237" y="478"/>
                      </a:lnTo>
                      <a:lnTo>
                        <a:pt x="276" y="499"/>
                      </a:lnTo>
                      <a:lnTo>
                        <a:pt x="308" y="499"/>
                      </a:lnTo>
                      <a:lnTo>
                        <a:pt x="347" y="478"/>
                      </a:lnTo>
                      <a:lnTo>
                        <a:pt x="385" y="458"/>
                      </a:lnTo>
                      <a:lnTo>
                        <a:pt x="417" y="458"/>
                      </a:lnTo>
                      <a:lnTo>
                        <a:pt x="455" y="438"/>
                      </a:lnTo>
                      <a:lnTo>
                        <a:pt x="475" y="404"/>
                      </a:lnTo>
                      <a:lnTo>
                        <a:pt x="494" y="384"/>
                      </a:lnTo>
                      <a:lnTo>
                        <a:pt x="507" y="343"/>
                      </a:lnTo>
                      <a:lnTo>
                        <a:pt x="545" y="303"/>
                      </a:lnTo>
                      <a:lnTo>
                        <a:pt x="545" y="289"/>
                      </a:lnTo>
                      <a:lnTo>
                        <a:pt x="565" y="249"/>
                      </a:lnTo>
                      <a:lnTo>
                        <a:pt x="565" y="228"/>
                      </a:lnTo>
                      <a:lnTo>
                        <a:pt x="584" y="208"/>
                      </a:lnTo>
                      <a:lnTo>
                        <a:pt x="616" y="208"/>
                      </a:lnTo>
                      <a:lnTo>
                        <a:pt x="616" y="18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5" name="Freeform 11"/>
                <p:cNvSpPr>
                  <a:spLocks/>
                </p:cNvSpPr>
                <p:nvPr/>
              </p:nvSpPr>
              <p:spPr bwMode="blackWhite">
                <a:xfrm>
                  <a:off x="2780552" y="2651433"/>
                  <a:ext cx="827309" cy="949833"/>
                </a:xfrm>
                <a:custGeom>
                  <a:avLst/>
                  <a:gdLst>
                    <a:gd name="T0" fmla="*/ 2147483647 w 547"/>
                    <a:gd name="T1" fmla="*/ 2147483647 h 613"/>
                    <a:gd name="T2" fmla="*/ 2147483647 w 547"/>
                    <a:gd name="T3" fmla="*/ 2147483647 h 613"/>
                    <a:gd name="T4" fmla="*/ 2147483647 w 547"/>
                    <a:gd name="T5" fmla="*/ 2147483647 h 613"/>
                    <a:gd name="T6" fmla="*/ 2147483647 w 547"/>
                    <a:gd name="T7" fmla="*/ 2147483647 h 613"/>
                    <a:gd name="T8" fmla="*/ 2147483647 w 547"/>
                    <a:gd name="T9" fmla="*/ 2147483647 h 613"/>
                    <a:gd name="T10" fmla="*/ 2147483647 w 547"/>
                    <a:gd name="T11" fmla="*/ 2147483647 h 613"/>
                    <a:gd name="T12" fmla="*/ 2147483647 w 547"/>
                    <a:gd name="T13" fmla="*/ 2147483647 h 613"/>
                    <a:gd name="T14" fmla="*/ 2147483647 w 547"/>
                    <a:gd name="T15" fmla="*/ 2147483647 h 613"/>
                    <a:gd name="T16" fmla="*/ 2147483647 w 547"/>
                    <a:gd name="T17" fmla="*/ 2147483647 h 613"/>
                    <a:gd name="T18" fmla="*/ 2147483647 w 547"/>
                    <a:gd name="T19" fmla="*/ 2147483647 h 613"/>
                    <a:gd name="T20" fmla="*/ 2147483647 w 547"/>
                    <a:gd name="T21" fmla="*/ 2147483647 h 613"/>
                    <a:gd name="T22" fmla="*/ 2147483647 w 547"/>
                    <a:gd name="T23" fmla="*/ 2147483647 h 613"/>
                    <a:gd name="T24" fmla="*/ 2147483647 w 547"/>
                    <a:gd name="T25" fmla="*/ 2147483647 h 613"/>
                    <a:gd name="T26" fmla="*/ 2147483647 w 547"/>
                    <a:gd name="T27" fmla="*/ 2147483647 h 613"/>
                    <a:gd name="T28" fmla="*/ 2147483647 w 547"/>
                    <a:gd name="T29" fmla="*/ 2147483647 h 613"/>
                    <a:gd name="T30" fmla="*/ 2147483647 w 547"/>
                    <a:gd name="T31" fmla="*/ 2147483647 h 613"/>
                    <a:gd name="T32" fmla="*/ 2147483647 w 547"/>
                    <a:gd name="T33" fmla="*/ 2147483647 h 613"/>
                    <a:gd name="T34" fmla="*/ 2147483647 w 547"/>
                    <a:gd name="T35" fmla="*/ 2147483647 h 613"/>
                    <a:gd name="T36" fmla="*/ 2147483647 w 547"/>
                    <a:gd name="T37" fmla="*/ 2147483647 h 613"/>
                    <a:gd name="T38" fmla="*/ 2147483647 w 547"/>
                    <a:gd name="T39" fmla="*/ 2147483647 h 613"/>
                    <a:gd name="T40" fmla="*/ 2147483647 w 547"/>
                    <a:gd name="T41" fmla="*/ 2147483647 h 613"/>
                    <a:gd name="T42" fmla="*/ 2147483647 w 547"/>
                    <a:gd name="T43" fmla="*/ 2147483647 h 613"/>
                    <a:gd name="T44" fmla="*/ 2147483647 w 547"/>
                    <a:gd name="T45" fmla="*/ 2147483647 h 613"/>
                    <a:gd name="T46" fmla="*/ 2147483647 w 547"/>
                    <a:gd name="T47" fmla="*/ 2147483647 h 613"/>
                    <a:gd name="T48" fmla="*/ 2147483647 w 547"/>
                    <a:gd name="T49" fmla="*/ 2147483647 h 613"/>
                    <a:gd name="T50" fmla="*/ 2147483647 w 547"/>
                    <a:gd name="T51" fmla="*/ 2147483647 h 613"/>
                    <a:gd name="T52" fmla="*/ 2147483647 w 547"/>
                    <a:gd name="T53" fmla="*/ 2147483647 h 613"/>
                    <a:gd name="T54" fmla="*/ 2147483647 w 547"/>
                    <a:gd name="T55" fmla="*/ 2147483647 h 613"/>
                    <a:gd name="T56" fmla="*/ 2147483647 w 547"/>
                    <a:gd name="T57" fmla="*/ 2147483647 h 613"/>
                    <a:gd name="T58" fmla="*/ 2147483647 w 547"/>
                    <a:gd name="T59" fmla="*/ 2147483647 h 613"/>
                    <a:gd name="T60" fmla="*/ 2147483647 w 547"/>
                    <a:gd name="T61" fmla="*/ 2147483647 h 613"/>
                    <a:gd name="T62" fmla="*/ 2147483647 w 547"/>
                    <a:gd name="T63" fmla="*/ 2147483647 h 613"/>
                    <a:gd name="T64" fmla="*/ 2147483647 w 547"/>
                    <a:gd name="T65" fmla="*/ 2147483647 h 613"/>
                    <a:gd name="T66" fmla="*/ 2147483647 w 547"/>
                    <a:gd name="T67" fmla="*/ 2147483647 h 613"/>
                    <a:gd name="T68" fmla="*/ 2147483647 w 547"/>
                    <a:gd name="T69" fmla="*/ 2147483647 h 613"/>
                    <a:gd name="T70" fmla="*/ 2147483647 w 547"/>
                    <a:gd name="T71" fmla="*/ 2147483647 h 613"/>
                    <a:gd name="T72" fmla="*/ 2147483647 w 547"/>
                    <a:gd name="T73" fmla="*/ 2147483647 h 613"/>
                    <a:gd name="T74" fmla="*/ 2147483647 w 547"/>
                    <a:gd name="T75" fmla="*/ 0 h 613"/>
                    <a:gd name="T76" fmla="*/ 2147483647 w 547"/>
                    <a:gd name="T77" fmla="*/ 2147483647 h 613"/>
                    <a:gd name="T78" fmla="*/ 2147483647 w 547"/>
                    <a:gd name="T79" fmla="*/ 2147483647 h 613"/>
                    <a:gd name="T80" fmla="*/ 2147483647 w 547"/>
                    <a:gd name="T81" fmla="*/ 2147483647 h 613"/>
                    <a:gd name="T82" fmla="*/ 2147483647 w 547"/>
                    <a:gd name="T83" fmla="*/ 0 h 613"/>
                    <a:gd name="T84" fmla="*/ 2147483647 w 547"/>
                    <a:gd name="T85" fmla="*/ 2147483647 h 613"/>
                    <a:gd name="T86" fmla="*/ 2147483647 w 547"/>
                    <a:gd name="T87" fmla="*/ 2147483647 h 613"/>
                    <a:gd name="T88" fmla="*/ 2147483647 w 547"/>
                    <a:gd name="T89" fmla="*/ 2147483647 h 613"/>
                    <a:gd name="T90" fmla="*/ 2147483647 w 547"/>
                    <a:gd name="T91" fmla="*/ 2147483647 h 613"/>
                    <a:gd name="T92" fmla="*/ 2147483647 w 547"/>
                    <a:gd name="T93" fmla="*/ 2147483647 h 613"/>
                    <a:gd name="T94" fmla="*/ 2147483647 w 547"/>
                    <a:gd name="T95" fmla="*/ 2147483647 h 613"/>
                    <a:gd name="T96" fmla="*/ 2147483647 w 547"/>
                    <a:gd name="T97" fmla="*/ 2147483647 h 613"/>
                    <a:gd name="T98" fmla="*/ 2147483647 w 547"/>
                    <a:gd name="T99" fmla="*/ 2147483647 h 613"/>
                    <a:gd name="T100" fmla="*/ 2147483647 w 547"/>
                    <a:gd name="T101" fmla="*/ 2147483647 h 613"/>
                    <a:gd name="T102" fmla="*/ 2147483647 w 547"/>
                    <a:gd name="T103" fmla="*/ 2147483647 h 613"/>
                    <a:gd name="T104" fmla="*/ 2147483647 w 547"/>
                    <a:gd name="T105" fmla="*/ 2147483647 h 613"/>
                    <a:gd name="T106" fmla="*/ 2147483647 w 547"/>
                    <a:gd name="T107" fmla="*/ 2147483647 h 613"/>
                    <a:gd name="T108" fmla="*/ 0 w 547"/>
                    <a:gd name="T109" fmla="*/ 2147483647 h 613"/>
                    <a:gd name="T110" fmla="*/ 2147483647 w 547"/>
                    <a:gd name="T111" fmla="*/ 2147483647 h 613"/>
                    <a:gd name="T112" fmla="*/ 2147483647 w 547"/>
                    <a:gd name="T113" fmla="*/ 2147483647 h 613"/>
                    <a:gd name="T114" fmla="*/ 2147483647 w 547"/>
                    <a:gd name="T115" fmla="*/ 2147483647 h 613"/>
                    <a:gd name="T116" fmla="*/ 2147483647 w 547"/>
                    <a:gd name="T117" fmla="*/ 2147483647 h 61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547"/>
                    <a:gd name="T178" fmla="*/ 0 h 613"/>
                    <a:gd name="T179" fmla="*/ 547 w 547"/>
                    <a:gd name="T180" fmla="*/ 613 h 61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547" h="613">
                      <a:moveTo>
                        <a:pt x="38" y="424"/>
                      </a:moveTo>
                      <a:lnTo>
                        <a:pt x="70" y="403"/>
                      </a:lnTo>
                      <a:lnTo>
                        <a:pt x="90" y="383"/>
                      </a:lnTo>
                      <a:lnTo>
                        <a:pt x="147" y="383"/>
                      </a:lnTo>
                      <a:lnTo>
                        <a:pt x="179" y="403"/>
                      </a:lnTo>
                      <a:lnTo>
                        <a:pt x="217" y="403"/>
                      </a:lnTo>
                      <a:lnTo>
                        <a:pt x="256" y="424"/>
                      </a:lnTo>
                      <a:lnTo>
                        <a:pt x="288" y="424"/>
                      </a:lnTo>
                      <a:lnTo>
                        <a:pt x="327" y="457"/>
                      </a:lnTo>
                      <a:lnTo>
                        <a:pt x="346" y="457"/>
                      </a:lnTo>
                      <a:lnTo>
                        <a:pt x="398" y="477"/>
                      </a:lnTo>
                      <a:lnTo>
                        <a:pt x="398" y="498"/>
                      </a:lnTo>
                      <a:lnTo>
                        <a:pt x="378" y="517"/>
                      </a:lnTo>
                      <a:lnTo>
                        <a:pt x="365" y="558"/>
                      </a:lnTo>
                      <a:lnTo>
                        <a:pt x="378" y="571"/>
                      </a:lnTo>
                      <a:lnTo>
                        <a:pt x="378" y="591"/>
                      </a:lnTo>
                      <a:lnTo>
                        <a:pt x="398" y="612"/>
                      </a:lnTo>
                      <a:lnTo>
                        <a:pt x="417" y="591"/>
                      </a:lnTo>
                      <a:lnTo>
                        <a:pt x="436" y="558"/>
                      </a:lnTo>
                      <a:lnTo>
                        <a:pt x="436" y="498"/>
                      </a:lnTo>
                      <a:lnTo>
                        <a:pt x="455" y="457"/>
                      </a:lnTo>
                      <a:lnTo>
                        <a:pt x="455" y="322"/>
                      </a:lnTo>
                      <a:lnTo>
                        <a:pt x="475" y="289"/>
                      </a:lnTo>
                      <a:lnTo>
                        <a:pt x="475" y="309"/>
                      </a:lnTo>
                      <a:lnTo>
                        <a:pt x="488" y="309"/>
                      </a:lnTo>
                      <a:lnTo>
                        <a:pt x="526" y="228"/>
                      </a:lnTo>
                      <a:lnTo>
                        <a:pt x="546" y="208"/>
                      </a:lnTo>
                      <a:lnTo>
                        <a:pt x="488" y="194"/>
                      </a:lnTo>
                      <a:lnTo>
                        <a:pt x="488" y="174"/>
                      </a:lnTo>
                      <a:lnTo>
                        <a:pt x="475" y="154"/>
                      </a:lnTo>
                      <a:lnTo>
                        <a:pt x="475" y="134"/>
                      </a:lnTo>
                      <a:lnTo>
                        <a:pt x="488" y="134"/>
                      </a:lnTo>
                      <a:lnTo>
                        <a:pt x="507" y="113"/>
                      </a:lnTo>
                      <a:lnTo>
                        <a:pt x="507" y="80"/>
                      </a:lnTo>
                      <a:lnTo>
                        <a:pt x="488" y="40"/>
                      </a:lnTo>
                      <a:lnTo>
                        <a:pt x="475" y="40"/>
                      </a:lnTo>
                      <a:lnTo>
                        <a:pt x="475" y="20"/>
                      </a:lnTo>
                      <a:lnTo>
                        <a:pt x="398" y="0"/>
                      </a:lnTo>
                      <a:lnTo>
                        <a:pt x="365" y="40"/>
                      </a:lnTo>
                      <a:lnTo>
                        <a:pt x="327" y="40"/>
                      </a:lnTo>
                      <a:lnTo>
                        <a:pt x="327" y="20"/>
                      </a:lnTo>
                      <a:lnTo>
                        <a:pt x="307" y="0"/>
                      </a:lnTo>
                      <a:lnTo>
                        <a:pt x="269" y="40"/>
                      </a:lnTo>
                      <a:lnTo>
                        <a:pt x="198" y="60"/>
                      </a:lnTo>
                      <a:lnTo>
                        <a:pt x="160" y="40"/>
                      </a:lnTo>
                      <a:lnTo>
                        <a:pt x="147" y="60"/>
                      </a:lnTo>
                      <a:lnTo>
                        <a:pt x="147" y="80"/>
                      </a:lnTo>
                      <a:lnTo>
                        <a:pt x="160" y="93"/>
                      </a:lnTo>
                      <a:lnTo>
                        <a:pt x="160" y="113"/>
                      </a:lnTo>
                      <a:lnTo>
                        <a:pt x="128" y="154"/>
                      </a:lnTo>
                      <a:lnTo>
                        <a:pt x="90" y="154"/>
                      </a:lnTo>
                      <a:lnTo>
                        <a:pt x="51" y="134"/>
                      </a:lnTo>
                      <a:lnTo>
                        <a:pt x="38" y="134"/>
                      </a:lnTo>
                      <a:lnTo>
                        <a:pt x="19" y="154"/>
                      </a:lnTo>
                      <a:lnTo>
                        <a:pt x="0" y="194"/>
                      </a:lnTo>
                      <a:lnTo>
                        <a:pt x="19" y="248"/>
                      </a:lnTo>
                      <a:lnTo>
                        <a:pt x="19" y="322"/>
                      </a:lnTo>
                      <a:lnTo>
                        <a:pt x="38" y="363"/>
                      </a:lnTo>
                      <a:lnTo>
                        <a:pt x="38" y="42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" name="Freeform 12"/>
                <p:cNvSpPr>
                  <a:spLocks/>
                </p:cNvSpPr>
                <p:nvPr/>
              </p:nvSpPr>
              <p:spPr bwMode="blackWhite">
                <a:xfrm>
                  <a:off x="3485338" y="2778294"/>
                  <a:ext cx="168064" cy="197340"/>
                </a:xfrm>
                <a:custGeom>
                  <a:avLst/>
                  <a:gdLst>
                    <a:gd name="T0" fmla="*/ 2147483647 w 111"/>
                    <a:gd name="T1" fmla="*/ 2147483647 h 129"/>
                    <a:gd name="T2" fmla="*/ 2147483647 w 111"/>
                    <a:gd name="T3" fmla="*/ 2147483647 h 129"/>
                    <a:gd name="T4" fmla="*/ 2147483647 w 111"/>
                    <a:gd name="T5" fmla="*/ 2147483647 h 129"/>
                    <a:gd name="T6" fmla="*/ 2147483647 w 111"/>
                    <a:gd name="T7" fmla="*/ 0 h 129"/>
                    <a:gd name="T8" fmla="*/ 2147483647 w 111"/>
                    <a:gd name="T9" fmla="*/ 0 h 129"/>
                    <a:gd name="T10" fmla="*/ 2147483647 w 111"/>
                    <a:gd name="T11" fmla="*/ 2147483647 h 129"/>
                    <a:gd name="T12" fmla="*/ 2147483647 w 111"/>
                    <a:gd name="T13" fmla="*/ 2147483647 h 129"/>
                    <a:gd name="T14" fmla="*/ 0 w 111"/>
                    <a:gd name="T15" fmla="*/ 2147483647 h 129"/>
                    <a:gd name="T16" fmla="*/ 0 w 111"/>
                    <a:gd name="T17" fmla="*/ 2147483647 h 129"/>
                    <a:gd name="T18" fmla="*/ 2147483647 w 111"/>
                    <a:gd name="T19" fmla="*/ 2147483647 h 129"/>
                    <a:gd name="T20" fmla="*/ 2147483647 w 111"/>
                    <a:gd name="T21" fmla="*/ 2147483647 h 129"/>
                    <a:gd name="T22" fmla="*/ 2147483647 w 111"/>
                    <a:gd name="T23" fmla="*/ 2147483647 h 12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11"/>
                    <a:gd name="T37" fmla="*/ 0 h 129"/>
                    <a:gd name="T38" fmla="*/ 111 w 111"/>
                    <a:gd name="T39" fmla="*/ 129 h 12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11" h="129">
                      <a:moveTo>
                        <a:pt x="71" y="128"/>
                      </a:moveTo>
                      <a:lnTo>
                        <a:pt x="110" y="53"/>
                      </a:lnTo>
                      <a:lnTo>
                        <a:pt x="90" y="33"/>
                      </a:lnTo>
                      <a:lnTo>
                        <a:pt x="51" y="0"/>
                      </a:lnTo>
                      <a:lnTo>
                        <a:pt x="32" y="0"/>
                      </a:lnTo>
                      <a:lnTo>
                        <a:pt x="32" y="33"/>
                      </a:lnTo>
                      <a:lnTo>
                        <a:pt x="12" y="53"/>
                      </a:lnTo>
                      <a:lnTo>
                        <a:pt x="0" y="53"/>
                      </a:lnTo>
                      <a:lnTo>
                        <a:pt x="0" y="74"/>
                      </a:lnTo>
                      <a:lnTo>
                        <a:pt x="12" y="94"/>
                      </a:lnTo>
                      <a:lnTo>
                        <a:pt x="12" y="114"/>
                      </a:lnTo>
                      <a:lnTo>
                        <a:pt x="71" y="128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7" name="Freeform 13"/>
                <p:cNvSpPr>
                  <a:spLocks/>
                </p:cNvSpPr>
                <p:nvPr/>
              </p:nvSpPr>
              <p:spPr bwMode="blackWhite">
                <a:xfrm>
                  <a:off x="3503770" y="2683961"/>
                  <a:ext cx="285167" cy="177823"/>
                </a:xfrm>
                <a:custGeom>
                  <a:avLst/>
                  <a:gdLst>
                    <a:gd name="T0" fmla="*/ 2147483647 w 188"/>
                    <a:gd name="T1" fmla="*/ 2147483647 h 115"/>
                    <a:gd name="T2" fmla="*/ 2147483647 w 188"/>
                    <a:gd name="T3" fmla="*/ 2147483647 h 115"/>
                    <a:gd name="T4" fmla="*/ 2147483647 w 188"/>
                    <a:gd name="T5" fmla="*/ 2147483647 h 115"/>
                    <a:gd name="T6" fmla="*/ 2147483647 w 188"/>
                    <a:gd name="T7" fmla="*/ 0 h 115"/>
                    <a:gd name="T8" fmla="*/ 2147483647 w 188"/>
                    <a:gd name="T9" fmla="*/ 0 h 115"/>
                    <a:gd name="T10" fmla="*/ 2147483647 w 188"/>
                    <a:gd name="T11" fmla="*/ 2147483647 h 115"/>
                    <a:gd name="T12" fmla="*/ 2147483647 w 188"/>
                    <a:gd name="T13" fmla="*/ 2147483647 h 115"/>
                    <a:gd name="T14" fmla="*/ 2147483647 w 188"/>
                    <a:gd name="T15" fmla="*/ 0 h 115"/>
                    <a:gd name="T16" fmla="*/ 2147483647 w 188"/>
                    <a:gd name="T17" fmla="*/ 0 h 115"/>
                    <a:gd name="T18" fmla="*/ 0 w 188"/>
                    <a:gd name="T19" fmla="*/ 2147483647 h 115"/>
                    <a:gd name="T20" fmla="*/ 2147483647 w 188"/>
                    <a:gd name="T21" fmla="*/ 2147483647 h 115"/>
                    <a:gd name="T22" fmla="*/ 2147483647 w 188"/>
                    <a:gd name="T23" fmla="*/ 2147483647 h 115"/>
                    <a:gd name="T24" fmla="*/ 2147483647 w 188"/>
                    <a:gd name="T25" fmla="*/ 2147483647 h 115"/>
                    <a:gd name="T26" fmla="*/ 2147483647 w 188"/>
                    <a:gd name="T27" fmla="*/ 2147483647 h 11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88"/>
                    <a:gd name="T43" fmla="*/ 0 h 115"/>
                    <a:gd name="T44" fmla="*/ 188 w 188"/>
                    <a:gd name="T45" fmla="*/ 115 h 11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88" h="115">
                      <a:moveTo>
                        <a:pt x="96" y="114"/>
                      </a:moveTo>
                      <a:lnTo>
                        <a:pt x="128" y="93"/>
                      </a:lnTo>
                      <a:lnTo>
                        <a:pt x="148" y="59"/>
                      </a:lnTo>
                      <a:lnTo>
                        <a:pt x="187" y="0"/>
                      </a:lnTo>
                      <a:lnTo>
                        <a:pt x="128" y="0"/>
                      </a:lnTo>
                      <a:lnTo>
                        <a:pt x="109" y="20"/>
                      </a:lnTo>
                      <a:lnTo>
                        <a:pt x="96" y="20"/>
                      </a:lnTo>
                      <a:lnTo>
                        <a:pt x="58" y="0"/>
                      </a:lnTo>
                      <a:lnTo>
                        <a:pt x="19" y="0"/>
                      </a:lnTo>
                      <a:lnTo>
                        <a:pt x="0" y="20"/>
                      </a:lnTo>
                      <a:lnTo>
                        <a:pt x="19" y="59"/>
                      </a:lnTo>
                      <a:lnTo>
                        <a:pt x="38" y="59"/>
                      </a:lnTo>
                      <a:lnTo>
                        <a:pt x="77" y="93"/>
                      </a:lnTo>
                      <a:lnTo>
                        <a:pt x="96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Freeform 14"/>
                <p:cNvSpPr>
                  <a:spLocks/>
                </p:cNvSpPr>
                <p:nvPr/>
              </p:nvSpPr>
              <p:spPr bwMode="blackWhite">
                <a:xfrm>
                  <a:off x="3241373" y="2506139"/>
                  <a:ext cx="583345" cy="209267"/>
                </a:xfrm>
                <a:custGeom>
                  <a:avLst/>
                  <a:gdLst>
                    <a:gd name="T0" fmla="*/ 2147483647 w 387"/>
                    <a:gd name="T1" fmla="*/ 0 h 136"/>
                    <a:gd name="T2" fmla="*/ 2147483647 w 387"/>
                    <a:gd name="T3" fmla="*/ 0 h 136"/>
                    <a:gd name="T4" fmla="*/ 2147483647 w 387"/>
                    <a:gd name="T5" fmla="*/ 2147483647 h 136"/>
                    <a:gd name="T6" fmla="*/ 2147483647 w 387"/>
                    <a:gd name="T7" fmla="*/ 2147483647 h 136"/>
                    <a:gd name="T8" fmla="*/ 2147483647 w 387"/>
                    <a:gd name="T9" fmla="*/ 2147483647 h 136"/>
                    <a:gd name="T10" fmla="*/ 2147483647 w 387"/>
                    <a:gd name="T11" fmla="*/ 2147483647 h 136"/>
                    <a:gd name="T12" fmla="*/ 2147483647 w 387"/>
                    <a:gd name="T13" fmla="*/ 2147483647 h 136"/>
                    <a:gd name="T14" fmla="*/ 2147483647 w 387"/>
                    <a:gd name="T15" fmla="*/ 2147483647 h 136"/>
                    <a:gd name="T16" fmla="*/ 2147483647 w 387"/>
                    <a:gd name="T17" fmla="*/ 2147483647 h 136"/>
                    <a:gd name="T18" fmla="*/ 2147483647 w 387"/>
                    <a:gd name="T19" fmla="*/ 2147483647 h 136"/>
                    <a:gd name="T20" fmla="*/ 2147483647 w 387"/>
                    <a:gd name="T21" fmla="*/ 2147483647 h 136"/>
                    <a:gd name="T22" fmla="*/ 2147483647 w 387"/>
                    <a:gd name="T23" fmla="*/ 2147483647 h 136"/>
                    <a:gd name="T24" fmla="*/ 2147483647 w 387"/>
                    <a:gd name="T25" fmla="*/ 2147483647 h 136"/>
                    <a:gd name="T26" fmla="*/ 2147483647 w 387"/>
                    <a:gd name="T27" fmla="*/ 2147483647 h 136"/>
                    <a:gd name="T28" fmla="*/ 2147483647 w 387"/>
                    <a:gd name="T29" fmla="*/ 2147483647 h 136"/>
                    <a:gd name="T30" fmla="*/ 2147483647 w 387"/>
                    <a:gd name="T31" fmla="*/ 2147483647 h 136"/>
                    <a:gd name="T32" fmla="*/ 2147483647 w 387"/>
                    <a:gd name="T33" fmla="*/ 2147483647 h 136"/>
                    <a:gd name="T34" fmla="*/ 0 w 387"/>
                    <a:gd name="T35" fmla="*/ 2147483647 h 136"/>
                    <a:gd name="T36" fmla="*/ 2147483647 w 387"/>
                    <a:gd name="T37" fmla="*/ 2147483647 h 136"/>
                    <a:gd name="T38" fmla="*/ 2147483647 w 387"/>
                    <a:gd name="T39" fmla="*/ 2147483647 h 136"/>
                    <a:gd name="T40" fmla="*/ 2147483647 w 387"/>
                    <a:gd name="T41" fmla="*/ 2147483647 h 136"/>
                    <a:gd name="T42" fmla="*/ 2147483647 w 387"/>
                    <a:gd name="T43" fmla="*/ 2147483647 h 136"/>
                    <a:gd name="T44" fmla="*/ 2147483647 w 387"/>
                    <a:gd name="T45" fmla="*/ 2147483647 h 136"/>
                    <a:gd name="T46" fmla="*/ 2147483647 w 387"/>
                    <a:gd name="T47" fmla="*/ 2147483647 h 136"/>
                    <a:gd name="T48" fmla="*/ 2147483647 w 387"/>
                    <a:gd name="T49" fmla="*/ 2147483647 h 136"/>
                    <a:gd name="T50" fmla="*/ 2147483647 w 387"/>
                    <a:gd name="T51" fmla="*/ 2147483647 h 136"/>
                    <a:gd name="T52" fmla="*/ 2147483647 w 387"/>
                    <a:gd name="T53" fmla="*/ 2147483647 h 136"/>
                    <a:gd name="T54" fmla="*/ 2147483647 w 387"/>
                    <a:gd name="T55" fmla="*/ 2147483647 h 136"/>
                    <a:gd name="T56" fmla="*/ 2147483647 w 387"/>
                    <a:gd name="T57" fmla="*/ 2147483647 h 136"/>
                    <a:gd name="T58" fmla="*/ 2147483647 w 387"/>
                    <a:gd name="T59" fmla="*/ 2147483647 h 136"/>
                    <a:gd name="T60" fmla="*/ 2147483647 w 387"/>
                    <a:gd name="T61" fmla="*/ 2147483647 h 136"/>
                    <a:gd name="T62" fmla="*/ 2147483647 w 387"/>
                    <a:gd name="T63" fmla="*/ 2147483647 h 136"/>
                    <a:gd name="T64" fmla="*/ 2147483647 w 387"/>
                    <a:gd name="T65" fmla="*/ 0 h 1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87"/>
                    <a:gd name="T100" fmla="*/ 0 h 136"/>
                    <a:gd name="T101" fmla="*/ 387 w 387"/>
                    <a:gd name="T102" fmla="*/ 136 h 1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87" h="136">
                      <a:moveTo>
                        <a:pt x="386" y="0"/>
                      </a:moveTo>
                      <a:lnTo>
                        <a:pt x="366" y="0"/>
                      </a:lnTo>
                      <a:lnTo>
                        <a:pt x="328" y="40"/>
                      </a:lnTo>
                      <a:lnTo>
                        <a:pt x="289" y="40"/>
                      </a:lnTo>
                      <a:lnTo>
                        <a:pt x="276" y="40"/>
                      </a:lnTo>
                      <a:lnTo>
                        <a:pt x="257" y="60"/>
                      </a:lnTo>
                      <a:lnTo>
                        <a:pt x="218" y="60"/>
                      </a:lnTo>
                      <a:lnTo>
                        <a:pt x="238" y="20"/>
                      </a:lnTo>
                      <a:lnTo>
                        <a:pt x="218" y="20"/>
                      </a:lnTo>
                      <a:lnTo>
                        <a:pt x="180" y="40"/>
                      </a:lnTo>
                      <a:lnTo>
                        <a:pt x="167" y="60"/>
                      </a:lnTo>
                      <a:lnTo>
                        <a:pt x="109" y="40"/>
                      </a:lnTo>
                      <a:lnTo>
                        <a:pt x="90" y="40"/>
                      </a:lnTo>
                      <a:lnTo>
                        <a:pt x="70" y="20"/>
                      </a:lnTo>
                      <a:lnTo>
                        <a:pt x="38" y="20"/>
                      </a:lnTo>
                      <a:lnTo>
                        <a:pt x="19" y="40"/>
                      </a:lnTo>
                      <a:lnTo>
                        <a:pt x="19" y="74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35"/>
                      </a:lnTo>
                      <a:lnTo>
                        <a:pt x="57" y="135"/>
                      </a:lnTo>
                      <a:lnTo>
                        <a:pt x="90" y="94"/>
                      </a:lnTo>
                      <a:lnTo>
                        <a:pt x="167" y="114"/>
                      </a:lnTo>
                      <a:lnTo>
                        <a:pt x="167" y="135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8" y="114"/>
                      </a:lnTo>
                      <a:lnTo>
                        <a:pt x="276" y="135"/>
                      </a:lnTo>
                      <a:lnTo>
                        <a:pt x="289" y="135"/>
                      </a:lnTo>
                      <a:lnTo>
                        <a:pt x="308" y="114"/>
                      </a:lnTo>
                      <a:lnTo>
                        <a:pt x="366" y="114"/>
                      </a:lnTo>
                      <a:lnTo>
                        <a:pt x="386" y="60"/>
                      </a:lnTo>
                      <a:lnTo>
                        <a:pt x="386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9" name="Freeform 15"/>
                <p:cNvSpPr>
                  <a:spLocks/>
                </p:cNvSpPr>
                <p:nvPr/>
              </p:nvSpPr>
              <p:spPr bwMode="blackWhite">
                <a:xfrm>
                  <a:off x="3400762" y="2392289"/>
                  <a:ext cx="417450" cy="209267"/>
                </a:xfrm>
                <a:custGeom>
                  <a:avLst/>
                  <a:gdLst>
                    <a:gd name="T0" fmla="*/ 2147483647 w 277"/>
                    <a:gd name="T1" fmla="*/ 2147483647 h 136"/>
                    <a:gd name="T2" fmla="*/ 2147483647 w 277"/>
                    <a:gd name="T3" fmla="*/ 2147483647 h 136"/>
                    <a:gd name="T4" fmla="*/ 2147483647 w 277"/>
                    <a:gd name="T5" fmla="*/ 2147483647 h 136"/>
                    <a:gd name="T6" fmla="*/ 2147483647 w 277"/>
                    <a:gd name="T7" fmla="*/ 2147483647 h 136"/>
                    <a:gd name="T8" fmla="*/ 2147483647 w 277"/>
                    <a:gd name="T9" fmla="*/ 2147483647 h 136"/>
                    <a:gd name="T10" fmla="*/ 2147483647 w 277"/>
                    <a:gd name="T11" fmla="*/ 2147483647 h 136"/>
                    <a:gd name="T12" fmla="*/ 2147483647 w 277"/>
                    <a:gd name="T13" fmla="*/ 2147483647 h 136"/>
                    <a:gd name="T14" fmla="*/ 2147483647 w 277"/>
                    <a:gd name="T15" fmla="*/ 2147483647 h 136"/>
                    <a:gd name="T16" fmla="*/ 2147483647 w 277"/>
                    <a:gd name="T17" fmla="*/ 2147483647 h 136"/>
                    <a:gd name="T18" fmla="*/ 2147483647 w 277"/>
                    <a:gd name="T19" fmla="*/ 0 h 136"/>
                    <a:gd name="T20" fmla="*/ 2147483647 w 277"/>
                    <a:gd name="T21" fmla="*/ 2147483647 h 136"/>
                    <a:gd name="T22" fmla="*/ 2147483647 w 277"/>
                    <a:gd name="T23" fmla="*/ 2147483647 h 136"/>
                    <a:gd name="T24" fmla="*/ 2147483647 w 277"/>
                    <a:gd name="T25" fmla="*/ 2147483647 h 136"/>
                    <a:gd name="T26" fmla="*/ 2147483647 w 277"/>
                    <a:gd name="T27" fmla="*/ 2147483647 h 136"/>
                    <a:gd name="T28" fmla="*/ 0 w 277"/>
                    <a:gd name="T29" fmla="*/ 2147483647 h 136"/>
                    <a:gd name="T30" fmla="*/ 2147483647 w 277"/>
                    <a:gd name="T31" fmla="*/ 2147483647 h 136"/>
                    <a:gd name="T32" fmla="*/ 2147483647 w 277"/>
                    <a:gd name="T33" fmla="*/ 2147483647 h 136"/>
                    <a:gd name="T34" fmla="*/ 2147483647 w 277"/>
                    <a:gd name="T35" fmla="*/ 2147483647 h 136"/>
                    <a:gd name="T36" fmla="*/ 2147483647 w 277"/>
                    <a:gd name="T37" fmla="*/ 2147483647 h 136"/>
                    <a:gd name="T38" fmla="*/ 2147483647 w 277"/>
                    <a:gd name="T39" fmla="*/ 2147483647 h 136"/>
                    <a:gd name="T40" fmla="*/ 2147483647 w 277"/>
                    <a:gd name="T41" fmla="*/ 2147483647 h 136"/>
                    <a:gd name="T42" fmla="*/ 2147483647 w 277"/>
                    <a:gd name="T43" fmla="*/ 2147483647 h 136"/>
                    <a:gd name="T44" fmla="*/ 2147483647 w 277"/>
                    <a:gd name="T45" fmla="*/ 2147483647 h 136"/>
                    <a:gd name="T46" fmla="*/ 2147483647 w 277"/>
                    <a:gd name="T47" fmla="*/ 2147483647 h 136"/>
                    <a:gd name="T48" fmla="*/ 2147483647 w 277"/>
                    <a:gd name="T49" fmla="*/ 2147483647 h 1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77"/>
                    <a:gd name="T76" fmla="*/ 0 h 136"/>
                    <a:gd name="T77" fmla="*/ 277 w 277"/>
                    <a:gd name="T78" fmla="*/ 136 h 1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77" h="136">
                      <a:moveTo>
                        <a:pt x="276" y="74"/>
                      </a:moveTo>
                      <a:lnTo>
                        <a:pt x="256" y="33"/>
                      </a:lnTo>
                      <a:lnTo>
                        <a:pt x="198" y="33"/>
                      </a:lnTo>
                      <a:lnTo>
                        <a:pt x="179" y="20"/>
                      </a:lnTo>
                      <a:lnTo>
                        <a:pt x="166" y="20"/>
                      </a:lnTo>
                      <a:lnTo>
                        <a:pt x="166" y="33"/>
                      </a:lnTo>
                      <a:lnTo>
                        <a:pt x="166" y="54"/>
                      </a:lnTo>
                      <a:lnTo>
                        <a:pt x="89" y="54"/>
                      </a:lnTo>
                      <a:lnTo>
                        <a:pt x="128" y="20"/>
                      </a:lnTo>
                      <a:lnTo>
                        <a:pt x="109" y="0"/>
                      </a:lnTo>
                      <a:lnTo>
                        <a:pt x="89" y="20"/>
                      </a:lnTo>
                      <a:lnTo>
                        <a:pt x="57" y="33"/>
                      </a:lnTo>
                      <a:lnTo>
                        <a:pt x="38" y="33"/>
                      </a:lnTo>
                      <a:lnTo>
                        <a:pt x="19" y="94"/>
                      </a:lnTo>
                      <a:lnTo>
                        <a:pt x="0" y="114"/>
                      </a:lnTo>
                      <a:lnTo>
                        <a:pt x="57" y="135"/>
                      </a:lnTo>
                      <a:lnTo>
                        <a:pt x="70" y="114"/>
                      </a:lnTo>
                      <a:lnTo>
                        <a:pt x="109" y="94"/>
                      </a:lnTo>
                      <a:lnTo>
                        <a:pt x="128" y="94"/>
                      </a:lnTo>
                      <a:lnTo>
                        <a:pt x="109" y="135"/>
                      </a:lnTo>
                      <a:lnTo>
                        <a:pt x="147" y="135"/>
                      </a:lnTo>
                      <a:lnTo>
                        <a:pt x="166" y="114"/>
                      </a:lnTo>
                      <a:lnTo>
                        <a:pt x="218" y="114"/>
                      </a:lnTo>
                      <a:lnTo>
                        <a:pt x="256" y="74"/>
                      </a:lnTo>
                      <a:lnTo>
                        <a:pt x="276" y="7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0" name="Freeform 17"/>
                <p:cNvSpPr>
                  <a:spLocks/>
                </p:cNvSpPr>
                <p:nvPr/>
              </p:nvSpPr>
              <p:spPr bwMode="blackWhite">
                <a:xfrm>
                  <a:off x="2809828" y="2116880"/>
                  <a:ext cx="495518" cy="776347"/>
                </a:xfrm>
                <a:custGeom>
                  <a:avLst/>
                  <a:gdLst>
                    <a:gd name="T0" fmla="*/ 2147483647 w 328"/>
                    <a:gd name="T1" fmla="*/ 0 h 500"/>
                    <a:gd name="T2" fmla="*/ 2147483647 w 328"/>
                    <a:gd name="T3" fmla="*/ 2147483647 h 500"/>
                    <a:gd name="T4" fmla="*/ 2147483647 w 328"/>
                    <a:gd name="T5" fmla="*/ 2147483647 h 500"/>
                    <a:gd name="T6" fmla="*/ 2147483647 w 328"/>
                    <a:gd name="T7" fmla="*/ 2147483647 h 500"/>
                    <a:gd name="T8" fmla="*/ 2147483647 w 328"/>
                    <a:gd name="T9" fmla="*/ 2147483647 h 500"/>
                    <a:gd name="T10" fmla="*/ 2147483647 w 328"/>
                    <a:gd name="T11" fmla="*/ 2147483647 h 500"/>
                    <a:gd name="T12" fmla="*/ 2147483647 w 328"/>
                    <a:gd name="T13" fmla="*/ 2147483647 h 500"/>
                    <a:gd name="T14" fmla="*/ 2147483647 w 328"/>
                    <a:gd name="T15" fmla="*/ 2147483647 h 500"/>
                    <a:gd name="T16" fmla="*/ 2147483647 w 328"/>
                    <a:gd name="T17" fmla="*/ 2147483647 h 500"/>
                    <a:gd name="T18" fmla="*/ 2147483647 w 328"/>
                    <a:gd name="T19" fmla="*/ 2147483647 h 500"/>
                    <a:gd name="T20" fmla="*/ 2147483647 w 328"/>
                    <a:gd name="T21" fmla="*/ 2147483647 h 500"/>
                    <a:gd name="T22" fmla="*/ 2147483647 w 328"/>
                    <a:gd name="T23" fmla="*/ 2147483647 h 500"/>
                    <a:gd name="T24" fmla="*/ 0 w 328"/>
                    <a:gd name="T25" fmla="*/ 2147483647 h 500"/>
                    <a:gd name="T26" fmla="*/ 2147483647 w 328"/>
                    <a:gd name="T27" fmla="*/ 2147483647 h 500"/>
                    <a:gd name="T28" fmla="*/ 2147483647 w 328"/>
                    <a:gd name="T29" fmla="*/ 2147483647 h 500"/>
                    <a:gd name="T30" fmla="*/ 2147483647 w 328"/>
                    <a:gd name="T31" fmla="*/ 2147483647 h 500"/>
                    <a:gd name="T32" fmla="*/ 2147483647 w 328"/>
                    <a:gd name="T33" fmla="*/ 2147483647 h 500"/>
                    <a:gd name="T34" fmla="*/ 2147483647 w 328"/>
                    <a:gd name="T35" fmla="*/ 2147483647 h 500"/>
                    <a:gd name="T36" fmla="*/ 2147483647 w 328"/>
                    <a:gd name="T37" fmla="*/ 2147483647 h 500"/>
                    <a:gd name="T38" fmla="*/ 2147483647 w 328"/>
                    <a:gd name="T39" fmla="*/ 2147483647 h 500"/>
                    <a:gd name="T40" fmla="*/ 2147483647 w 328"/>
                    <a:gd name="T41" fmla="*/ 2147483647 h 500"/>
                    <a:gd name="T42" fmla="*/ 2147483647 w 328"/>
                    <a:gd name="T43" fmla="*/ 2147483647 h 500"/>
                    <a:gd name="T44" fmla="*/ 2147483647 w 328"/>
                    <a:gd name="T45" fmla="*/ 2147483647 h 500"/>
                    <a:gd name="T46" fmla="*/ 2147483647 w 328"/>
                    <a:gd name="T47" fmla="*/ 2147483647 h 500"/>
                    <a:gd name="T48" fmla="*/ 2147483647 w 328"/>
                    <a:gd name="T49" fmla="*/ 2147483647 h 500"/>
                    <a:gd name="T50" fmla="*/ 2147483647 w 328"/>
                    <a:gd name="T51" fmla="*/ 2147483647 h 500"/>
                    <a:gd name="T52" fmla="*/ 2147483647 w 328"/>
                    <a:gd name="T53" fmla="*/ 2147483647 h 500"/>
                    <a:gd name="T54" fmla="*/ 2147483647 w 328"/>
                    <a:gd name="T55" fmla="*/ 2147483647 h 500"/>
                    <a:gd name="T56" fmla="*/ 2147483647 w 328"/>
                    <a:gd name="T57" fmla="*/ 2147483647 h 500"/>
                    <a:gd name="T58" fmla="*/ 2147483647 w 328"/>
                    <a:gd name="T59" fmla="*/ 2147483647 h 500"/>
                    <a:gd name="T60" fmla="*/ 2147483647 w 328"/>
                    <a:gd name="T61" fmla="*/ 2147483647 h 500"/>
                    <a:gd name="T62" fmla="*/ 2147483647 w 328"/>
                    <a:gd name="T63" fmla="*/ 2147483647 h 500"/>
                    <a:gd name="T64" fmla="*/ 2147483647 w 328"/>
                    <a:gd name="T65" fmla="*/ 2147483647 h 500"/>
                    <a:gd name="T66" fmla="*/ 2147483647 w 328"/>
                    <a:gd name="T67" fmla="*/ 2147483647 h 500"/>
                    <a:gd name="T68" fmla="*/ 2147483647 w 328"/>
                    <a:gd name="T69" fmla="*/ 0 h 500"/>
                    <a:gd name="T70" fmla="*/ 2147483647 w 328"/>
                    <a:gd name="T71" fmla="*/ 0 h 5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28"/>
                    <a:gd name="T109" fmla="*/ 0 h 500"/>
                    <a:gd name="T110" fmla="*/ 328 w 328"/>
                    <a:gd name="T111" fmla="*/ 500 h 5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28" h="500">
                      <a:moveTo>
                        <a:pt x="249" y="0"/>
                      </a:moveTo>
                      <a:lnTo>
                        <a:pt x="237" y="20"/>
                      </a:lnTo>
                      <a:lnTo>
                        <a:pt x="217" y="20"/>
                      </a:lnTo>
                      <a:lnTo>
                        <a:pt x="198" y="40"/>
                      </a:lnTo>
                      <a:lnTo>
                        <a:pt x="179" y="81"/>
                      </a:lnTo>
                      <a:lnTo>
                        <a:pt x="179" y="114"/>
                      </a:lnTo>
                      <a:lnTo>
                        <a:pt x="159" y="175"/>
                      </a:lnTo>
                      <a:lnTo>
                        <a:pt x="159" y="209"/>
                      </a:lnTo>
                      <a:lnTo>
                        <a:pt x="140" y="229"/>
                      </a:lnTo>
                      <a:lnTo>
                        <a:pt x="89" y="249"/>
                      </a:lnTo>
                      <a:lnTo>
                        <a:pt x="51" y="270"/>
                      </a:lnTo>
                      <a:lnTo>
                        <a:pt x="19" y="310"/>
                      </a:lnTo>
                      <a:lnTo>
                        <a:pt x="0" y="385"/>
                      </a:lnTo>
                      <a:lnTo>
                        <a:pt x="19" y="458"/>
                      </a:lnTo>
                      <a:lnTo>
                        <a:pt x="19" y="478"/>
                      </a:lnTo>
                      <a:lnTo>
                        <a:pt x="32" y="478"/>
                      </a:lnTo>
                      <a:lnTo>
                        <a:pt x="70" y="499"/>
                      </a:lnTo>
                      <a:lnTo>
                        <a:pt x="109" y="499"/>
                      </a:lnTo>
                      <a:lnTo>
                        <a:pt x="140" y="458"/>
                      </a:lnTo>
                      <a:lnTo>
                        <a:pt x="140" y="438"/>
                      </a:lnTo>
                      <a:lnTo>
                        <a:pt x="127" y="424"/>
                      </a:lnTo>
                      <a:lnTo>
                        <a:pt x="127" y="405"/>
                      </a:lnTo>
                      <a:lnTo>
                        <a:pt x="140" y="385"/>
                      </a:lnTo>
                      <a:lnTo>
                        <a:pt x="179" y="405"/>
                      </a:lnTo>
                      <a:lnTo>
                        <a:pt x="249" y="385"/>
                      </a:lnTo>
                      <a:lnTo>
                        <a:pt x="288" y="344"/>
                      </a:lnTo>
                      <a:lnTo>
                        <a:pt x="307" y="324"/>
                      </a:lnTo>
                      <a:lnTo>
                        <a:pt x="307" y="290"/>
                      </a:lnTo>
                      <a:lnTo>
                        <a:pt x="327" y="270"/>
                      </a:lnTo>
                      <a:lnTo>
                        <a:pt x="327" y="249"/>
                      </a:lnTo>
                      <a:lnTo>
                        <a:pt x="288" y="195"/>
                      </a:lnTo>
                      <a:lnTo>
                        <a:pt x="288" y="155"/>
                      </a:lnTo>
                      <a:lnTo>
                        <a:pt x="269" y="81"/>
                      </a:lnTo>
                      <a:lnTo>
                        <a:pt x="269" y="40"/>
                      </a:lnTo>
                      <a:lnTo>
                        <a:pt x="269" y="0"/>
                      </a:lnTo>
                      <a:lnTo>
                        <a:pt x="249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" name="Freeform 18"/>
                <p:cNvSpPr>
                  <a:spLocks/>
                </p:cNvSpPr>
                <p:nvPr/>
              </p:nvSpPr>
              <p:spPr bwMode="blackWhite">
                <a:xfrm>
                  <a:off x="2588635" y="1941227"/>
                  <a:ext cx="600693" cy="889113"/>
                </a:xfrm>
                <a:custGeom>
                  <a:avLst/>
                  <a:gdLst>
                    <a:gd name="T0" fmla="*/ 2147483647 w 399"/>
                    <a:gd name="T1" fmla="*/ 0 h 573"/>
                    <a:gd name="T2" fmla="*/ 2147483647 w 399"/>
                    <a:gd name="T3" fmla="*/ 2147483647 h 573"/>
                    <a:gd name="T4" fmla="*/ 2147483647 w 399"/>
                    <a:gd name="T5" fmla="*/ 2147483647 h 573"/>
                    <a:gd name="T6" fmla="*/ 2147483647 w 399"/>
                    <a:gd name="T7" fmla="*/ 2147483647 h 573"/>
                    <a:gd name="T8" fmla="*/ 2147483647 w 399"/>
                    <a:gd name="T9" fmla="*/ 2147483647 h 573"/>
                    <a:gd name="T10" fmla="*/ 2147483647 w 399"/>
                    <a:gd name="T11" fmla="*/ 2147483647 h 573"/>
                    <a:gd name="T12" fmla="*/ 0 w 399"/>
                    <a:gd name="T13" fmla="*/ 2147483647 h 573"/>
                    <a:gd name="T14" fmla="*/ 2147483647 w 399"/>
                    <a:gd name="T15" fmla="*/ 2147483647 h 573"/>
                    <a:gd name="T16" fmla="*/ 2147483647 w 399"/>
                    <a:gd name="T17" fmla="*/ 2147483647 h 573"/>
                    <a:gd name="T18" fmla="*/ 2147483647 w 399"/>
                    <a:gd name="T19" fmla="*/ 2147483647 h 573"/>
                    <a:gd name="T20" fmla="*/ 2147483647 w 399"/>
                    <a:gd name="T21" fmla="*/ 2147483647 h 573"/>
                    <a:gd name="T22" fmla="*/ 2147483647 w 399"/>
                    <a:gd name="T23" fmla="*/ 2147483647 h 573"/>
                    <a:gd name="T24" fmla="*/ 2147483647 w 399"/>
                    <a:gd name="T25" fmla="*/ 2147483647 h 573"/>
                    <a:gd name="T26" fmla="*/ 2147483647 w 399"/>
                    <a:gd name="T27" fmla="*/ 2147483647 h 573"/>
                    <a:gd name="T28" fmla="*/ 2147483647 w 399"/>
                    <a:gd name="T29" fmla="*/ 2147483647 h 573"/>
                    <a:gd name="T30" fmla="*/ 2147483647 w 399"/>
                    <a:gd name="T31" fmla="*/ 2147483647 h 573"/>
                    <a:gd name="T32" fmla="*/ 2147483647 w 399"/>
                    <a:gd name="T33" fmla="*/ 2147483647 h 573"/>
                    <a:gd name="T34" fmla="*/ 2147483647 w 399"/>
                    <a:gd name="T35" fmla="*/ 2147483647 h 573"/>
                    <a:gd name="T36" fmla="*/ 2147483647 w 399"/>
                    <a:gd name="T37" fmla="*/ 2147483647 h 573"/>
                    <a:gd name="T38" fmla="*/ 2147483647 w 399"/>
                    <a:gd name="T39" fmla="*/ 2147483647 h 573"/>
                    <a:gd name="T40" fmla="*/ 2147483647 w 399"/>
                    <a:gd name="T41" fmla="*/ 2147483647 h 573"/>
                    <a:gd name="T42" fmla="*/ 2147483647 w 399"/>
                    <a:gd name="T43" fmla="*/ 2147483647 h 573"/>
                    <a:gd name="T44" fmla="*/ 2147483647 w 399"/>
                    <a:gd name="T45" fmla="*/ 2147483647 h 573"/>
                    <a:gd name="T46" fmla="*/ 2147483647 w 399"/>
                    <a:gd name="T47" fmla="*/ 2147483647 h 573"/>
                    <a:gd name="T48" fmla="*/ 2147483647 w 399"/>
                    <a:gd name="T49" fmla="*/ 2147483647 h 573"/>
                    <a:gd name="T50" fmla="*/ 2147483647 w 399"/>
                    <a:gd name="T51" fmla="*/ 2147483647 h 573"/>
                    <a:gd name="T52" fmla="*/ 2147483647 w 399"/>
                    <a:gd name="T53" fmla="*/ 2147483647 h 573"/>
                    <a:gd name="T54" fmla="*/ 2147483647 w 399"/>
                    <a:gd name="T55" fmla="*/ 2147483647 h 573"/>
                    <a:gd name="T56" fmla="*/ 2147483647 w 399"/>
                    <a:gd name="T57" fmla="*/ 2147483647 h 573"/>
                    <a:gd name="T58" fmla="*/ 2147483647 w 399"/>
                    <a:gd name="T59" fmla="*/ 2147483647 h 573"/>
                    <a:gd name="T60" fmla="*/ 2147483647 w 399"/>
                    <a:gd name="T61" fmla="*/ 2147483647 h 573"/>
                    <a:gd name="T62" fmla="*/ 2147483647 w 399"/>
                    <a:gd name="T63" fmla="*/ 2147483647 h 573"/>
                    <a:gd name="T64" fmla="*/ 2147483647 w 399"/>
                    <a:gd name="T65" fmla="*/ 2147483647 h 573"/>
                    <a:gd name="T66" fmla="*/ 2147483647 w 399"/>
                    <a:gd name="T67" fmla="*/ 2147483647 h 573"/>
                    <a:gd name="T68" fmla="*/ 2147483647 w 399"/>
                    <a:gd name="T69" fmla="*/ 2147483647 h 573"/>
                    <a:gd name="T70" fmla="*/ 2147483647 w 399"/>
                    <a:gd name="T71" fmla="*/ 2147483647 h 573"/>
                    <a:gd name="T72" fmla="*/ 2147483647 w 399"/>
                    <a:gd name="T73" fmla="*/ 2147483647 h 573"/>
                    <a:gd name="T74" fmla="*/ 2147483647 w 399"/>
                    <a:gd name="T75" fmla="*/ 2147483647 h 573"/>
                    <a:gd name="T76" fmla="*/ 2147483647 w 399"/>
                    <a:gd name="T77" fmla="*/ 2147483647 h 573"/>
                    <a:gd name="T78" fmla="*/ 2147483647 w 399"/>
                    <a:gd name="T79" fmla="*/ 2147483647 h 573"/>
                    <a:gd name="T80" fmla="*/ 2147483647 w 399"/>
                    <a:gd name="T81" fmla="*/ 2147483647 h 573"/>
                    <a:gd name="T82" fmla="*/ 2147483647 w 399"/>
                    <a:gd name="T83" fmla="*/ 2147483647 h 573"/>
                    <a:gd name="T84" fmla="*/ 2147483647 w 399"/>
                    <a:gd name="T85" fmla="*/ 0 h 5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99"/>
                    <a:gd name="T130" fmla="*/ 0 h 573"/>
                    <a:gd name="T131" fmla="*/ 399 w 399"/>
                    <a:gd name="T132" fmla="*/ 573 h 5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99" h="573">
                      <a:moveTo>
                        <a:pt x="128" y="0"/>
                      </a:moveTo>
                      <a:lnTo>
                        <a:pt x="128" y="60"/>
                      </a:lnTo>
                      <a:lnTo>
                        <a:pt x="109" y="134"/>
                      </a:lnTo>
                      <a:lnTo>
                        <a:pt x="90" y="194"/>
                      </a:lnTo>
                      <a:lnTo>
                        <a:pt x="57" y="228"/>
                      </a:lnTo>
                      <a:lnTo>
                        <a:pt x="19" y="248"/>
                      </a:lnTo>
                      <a:lnTo>
                        <a:pt x="0" y="269"/>
                      </a:lnTo>
                      <a:lnTo>
                        <a:pt x="38" y="269"/>
                      </a:lnTo>
                      <a:lnTo>
                        <a:pt x="57" y="289"/>
                      </a:lnTo>
                      <a:lnTo>
                        <a:pt x="57" y="309"/>
                      </a:lnTo>
                      <a:lnTo>
                        <a:pt x="38" y="343"/>
                      </a:lnTo>
                      <a:lnTo>
                        <a:pt x="57" y="404"/>
                      </a:lnTo>
                      <a:lnTo>
                        <a:pt x="90" y="424"/>
                      </a:lnTo>
                      <a:lnTo>
                        <a:pt x="109" y="404"/>
                      </a:lnTo>
                      <a:lnTo>
                        <a:pt x="128" y="424"/>
                      </a:lnTo>
                      <a:lnTo>
                        <a:pt x="128" y="437"/>
                      </a:lnTo>
                      <a:lnTo>
                        <a:pt x="109" y="458"/>
                      </a:lnTo>
                      <a:lnTo>
                        <a:pt x="90" y="498"/>
                      </a:lnTo>
                      <a:lnTo>
                        <a:pt x="109" y="538"/>
                      </a:lnTo>
                      <a:lnTo>
                        <a:pt x="147" y="572"/>
                      </a:lnTo>
                      <a:lnTo>
                        <a:pt x="167" y="572"/>
                      </a:lnTo>
                      <a:lnTo>
                        <a:pt x="147" y="498"/>
                      </a:lnTo>
                      <a:lnTo>
                        <a:pt x="167" y="424"/>
                      </a:lnTo>
                      <a:lnTo>
                        <a:pt x="199" y="383"/>
                      </a:lnTo>
                      <a:lnTo>
                        <a:pt x="237" y="363"/>
                      </a:lnTo>
                      <a:lnTo>
                        <a:pt x="288" y="343"/>
                      </a:lnTo>
                      <a:lnTo>
                        <a:pt x="307" y="323"/>
                      </a:lnTo>
                      <a:lnTo>
                        <a:pt x="307" y="289"/>
                      </a:lnTo>
                      <a:lnTo>
                        <a:pt x="327" y="228"/>
                      </a:lnTo>
                      <a:lnTo>
                        <a:pt x="327" y="194"/>
                      </a:lnTo>
                      <a:lnTo>
                        <a:pt x="346" y="154"/>
                      </a:lnTo>
                      <a:lnTo>
                        <a:pt x="365" y="134"/>
                      </a:lnTo>
                      <a:lnTo>
                        <a:pt x="385" y="134"/>
                      </a:lnTo>
                      <a:lnTo>
                        <a:pt x="398" y="113"/>
                      </a:lnTo>
                      <a:lnTo>
                        <a:pt x="385" y="113"/>
                      </a:lnTo>
                      <a:lnTo>
                        <a:pt x="346" y="93"/>
                      </a:lnTo>
                      <a:lnTo>
                        <a:pt x="288" y="80"/>
                      </a:lnTo>
                      <a:lnTo>
                        <a:pt x="257" y="60"/>
                      </a:lnTo>
                      <a:lnTo>
                        <a:pt x="237" y="93"/>
                      </a:lnTo>
                      <a:lnTo>
                        <a:pt x="237" y="60"/>
                      </a:ln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" name="Freeform 19"/>
                <p:cNvSpPr>
                  <a:spLocks/>
                </p:cNvSpPr>
                <p:nvPr/>
              </p:nvSpPr>
              <p:spPr bwMode="blackWhite">
                <a:xfrm>
                  <a:off x="2393464" y="2358676"/>
                  <a:ext cx="448893" cy="826224"/>
                </a:xfrm>
                <a:custGeom>
                  <a:avLst/>
                  <a:gdLst>
                    <a:gd name="T0" fmla="*/ 2147483647 w 297"/>
                    <a:gd name="T1" fmla="*/ 0 h 534"/>
                    <a:gd name="T2" fmla="*/ 2147483647 w 297"/>
                    <a:gd name="T3" fmla="*/ 2147483647 h 534"/>
                    <a:gd name="T4" fmla="*/ 2147483647 w 297"/>
                    <a:gd name="T5" fmla="*/ 2147483647 h 534"/>
                    <a:gd name="T6" fmla="*/ 2147483647 w 297"/>
                    <a:gd name="T7" fmla="*/ 2147483647 h 534"/>
                    <a:gd name="T8" fmla="*/ 2147483647 w 297"/>
                    <a:gd name="T9" fmla="*/ 2147483647 h 534"/>
                    <a:gd name="T10" fmla="*/ 2147483647 w 297"/>
                    <a:gd name="T11" fmla="*/ 2147483647 h 534"/>
                    <a:gd name="T12" fmla="*/ 2147483647 w 297"/>
                    <a:gd name="T13" fmla="*/ 2147483647 h 534"/>
                    <a:gd name="T14" fmla="*/ 2147483647 w 297"/>
                    <a:gd name="T15" fmla="*/ 2147483647 h 534"/>
                    <a:gd name="T16" fmla="*/ 0 w 297"/>
                    <a:gd name="T17" fmla="*/ 2147483647 h 534"/>
                    <a:gd name="T18" fmla="*/ 0 w 297"/>
                    <a:gd name="T19" fmla="*/ 2147483647 h 534"/>
                    <a:gd name="T20" fmla="*/ 2147483647 w 297"/>
                    <a:gd name="T21" fmla="*/ 2147483647 h 534"/>
                    <a:gd name="T22" fmla="*/ 0 w 297"/>
                    <a:gd name="T23" fmla="*/ 2147483647 h 534"/>
                    <a:gd name="T24" fmla="*/ 2147483647 w 297"/>
                    <a:gd name="T25" fmla="*/ 2147483647 h 534"/>
                    <a:gd name="T26" fmla="*/ 2147483647 w 297"/>
                    <a:gd name="T27" fmla="*/ 2147483647 h 534"/>
                    <a:gd name="T28" fmla="*/ 2147483647 w 297"/>
                    <a:gd name="T29" fmla="*/ 2147483647 h 534"/>
                    <a:gd name="T30" fmla="*/ 2147483647 w 297"/>
                    <a:gd name="T31" fmla="*/ 2147483647 h 534"/>
                    <a:gd name="T32" fmla="*/ 2147483647 w 297"/>
                    <a:gd name="T33" fmla="*/ 2147483647 h 534"/>
                    <a:gd name="T34" fmla="*/ 2147483647 w 297"/>
                    <a:gd name="T35" fmla="*/ 2147483647 h 534"/>
                    <a:gd name="T36" fmla="*/ 2147483647 w 297"/>
                    <a:gd name="T37" fmla="*/ 2147483647 h 534"/>
                    <a:gd name="T38" fmla="*/ 2147483647 w 297"/>
                    <a:gd name="T39" fmla="*/ 2147483647 h 534"/>
                    <a:gd name="T40" fmla="*/ 2147483647 w 297"/>
                    <a:gd name="T41" fmla="*/ 2147483647 h 534"/>
                    <a:gd name="T42" fmla="*/ 2147483647 w 297"/>
                    <a:gd name="T43" fmla="*/ 2147483647 h 534"/>
                    <a:gd name="T44" fmla="*/ 2147483647 w 297"/>
                    <a:gd name="T45" fmla="*/ 2147483647 h 534"/>
                    <a:gd name="T46" fmla="*/ 2147483647 w 297"/>
                    <a:gd name="T47" fmla="*/ 2147483647 h 534"/>
                    <a:gd name="T48" fmla="*/ 2147483647 w 297"/>
                    <a:gd name="T49" fmla="*/ 2147483647 h 534"/>
                    <a:gd name="T50" fmla="*/ 2147483647 w 297"/>
                    <a:gd name="T51" fmla="*/ 2147483647 h 534"/>
                    <a:gd name="T52" fmla="*/ 2147483647 w 297"/>
                    <a:gd name="T53" fmla="*/ 2147483647 h 534"/>
                    <a:gd name="T54" fmla="*/ 2147483647 w 297"/>
                    <a:gd name="T55" fmla="*/ 2147483647 h 534"/>
                    <a:gd name="T56" fmla="*/ 2147483647 w 297"/>
                    <a:gd name="T57" fmla="*/ 2147483647 h 534"/>
                    <a:gd name="T58" fmla="*/ 2147483647 w 297"/>
                    <a:gd name="T59" fmla="*/ 2147483647 h 534"/>
                    <a:gd name="T60" fmla="*/ 2147483647 w 297"/>
                    <a:gd name="T61" fmla="*/ 2147483647 h 534"/>
                    <a:gd name="T62" fmla="*/ 2147483647 w 297"/>
                    <a:gd name="T63" fmla="*/ 2147483647 h 534"/>
                    <a:gd name="T64" fmla="*/ 2147483647 w 297"/>
                    <a:gd name="T65" fmla="*/ 2147483647 h 534"/>
                    <a:gd name="T66" fmla="*/ 2147483647 w 297"/>
                    <a:gd name="T67" fmla="*/ 2147483647 h 534"/>
                    <a:gd name="T68" fmla="*/ 2147483647 w 297"/>
                    <a:gd name="T69" fmla="*/ 2147483647 h 534"/>
                    <a:gd name="T70" fmla="*/ 2147483647 w 297"/>
                    <a:gd name="T71" fmla="*/ 2147483647 h 534"/>
                    <a:gd name="T72" fmla="*/ 2147483647 w 297"/>
                    <a:gd name="T73" fmla="*/ 2147483647 h 534"/>
                    <a:gd name="T74" fmla="*/ 2147483647 w 297"/>
                    <a:gd name="T75" fmla="*/ 0 h 534"/>
                    <a:gd name="T76" fmla="*/ 2147483647 w 297"/>
                    <a:gd name="T77" fmla="*/ 0 h 53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97"/>
                    <a:gd name="T118" fmla="*/ 0 h 534"/>
                    <a:gd name="T119" fmla="*/ 297 w 297"/>
                    <a:gd name="T120" fmla="*/ 534 h 53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97" h="534">
                      <a:moveTo>
                        <a:pt x="128" y="0"/>
                      </a:moveTo>
                      <a:lnTo>
                        <a:pt x="148" y="20"/>
                      </a:lnTo>
                      <a:lnTo>
                        <a:pt x="148" y="40"/>
                      </a:lnTo>
                      <a:lnTo>
                        <a:pt x="90" y="94"/>
                      </a:lnTo>
                      <a:lnTo>
                        <a:pt x="77" y="135"/>
                      </a:lnTo>
                      <a:lnTo>
                        <a:pt x="77" y="189"/>
                      </a:lnTo>
                      <a:lnTo>
                        <a:pt x="57" y="229"/>
                      </a:lnTo>
                      <a:lnTo>
                        <a:pt x="19" y="282"/>
                      </a:lnTo>
                      <a:lnTo>
                        <a:pt x="0" y="343"/>
                      </a:lnTo>
                      <a:lnTo>
                        <a:pt x="0" y="397"/>
                      </a:lnTo>
                      <a:lnTo>
                        <a:pt x="19" y="458"/>
                      </a:lnTo>
                      <a:lnTo>
                        <a:pt x="0" y="512"/>
                      </a:lnTo>
                      <a:lnTo>
                        <a:pt x="19" y="512"/>
                      </a:lnTo>
                      <a:lnTo>
                        <a:pt x="57" y="499"/>
                      </a:lnTo>
                      <a:lnTo>
                        <a:pt x="90" y="499"/>
                      </a:lnTo>
                      <a:lnTo>
                        <a:pt x="109" y="512"/>
                      </a:lnTo>
                      <a:lnTo>
                        <a:pt x="148" y="533"/>
                      </a:lnTo>
                      <a:lnTo>
                        <a:pt x="167" y="512"/>
                      </a:lnTo>
                      <a:lnTo>
                        <a:pt x="199" y="499"/>
                      </a:lnTo>
                      <a:lnTo>
                        <a:pt x="276" y="512"/>
                      </a:lnTo>
                      <a:lnTo>
                        <a:pt x="276" y="438"/>
                      </a:lnTo>
                      <a:lnTo>
                        <a:pt x="257" y="384"/>
                      </a:lnTo>
                      <a:lnTo>
                        <a:pt x="276" y="343"/>
                      </a:lnTo>
                      <a:lnTo>
                        <a:pt x="296" y="323"/>
                      </a:lnTo>
                      <a:lnTo>
                        <a:pt x="296" y="303"/>
                      </a:lnTo>
                      <a:lnTo>
                        <a:pt x="276" y="303"/>
                      </a:lnTo>
                      <a:lnTo>
                        <a:pt x="238" y="269"/>
                      </a:lnTo>
                      <a:lnTo>
                        <a:pt x="218" y="229"/>
                      </a:lnTo>
                      <a:lnTo>
                        <a:pt x="238" y="189"/>
                      </a:lnTo>
                      <a:lnTo>
                        <a:pt x="257" y="168"/>
                      </a:lnTo>
                      <a:lnTo>
                        <a:pt x="257" y="155"/>
                      </a:lnTo>
                      <a:lnTo>
                        <a:pt x="238" y="135"/>
                      </a:lnTo>
                      <a:lnTo>
                        <a:pt x="218" y="155"/>
                      </a:lnTo>
                      <a:lnTo>
                        <a:pt x="186" y="135"/>
                      </a:lnTo>
                      <a:lnTo>
                        <a:pt x="167" y="74"/>
                      </a:lnTo>
                      <a:lnTo>
                        <a:pt x="186" y="40"/>
                      </a:lnTo>
                      <a:lnTo>
                        <a:pt x="186" y="20"/>
                      </a:lnTo>
                      <a:lnTo>
                        <a:pt x="167" y="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" name="Freeform 21"/>
                <p:cNvSpPr>
                  <a:spLocks/>
                </p:cNvSpPr>
                <p:nvPr/>
              </p:nvSpPr>
              <p:spPr bwMode="blackWhite">
                <a:xfrm>
                  <a:off x="1868670" y="3510186"/>
                  <a:ext cx="552985" cy="647318"/>
                </a:xfrm>
                <a:custGeom>
                  <a:avLst/>
                  <a:gdLst>
                    <a:gd name="T0" fmla="*/ 2147483647 w 367"/>
                    <a:gd name="T1" fmla="*/ 2147483647 h 419"/>
                    <a:gd name="T2" fmla="*/ 2147483647 w 367"/>
                    <a:gd name="T3" fmla="*/ 2147483647 h 419"/>
                    <a:gd name="T4" fmla="*/ 2147483647 w 367"/>
                    <a:gd name="T5" fmla="*/ 0 h 419"/>
                    <a:gd name="T6" fmla="*/ 2147483647 w 367"/>
                    <a:gd name="T7" fmla="*/ 0 h 419"/>
                    <a:gd name="T8" fmla="*/ 2147483647 w 367"/>
                    <a:gd name="T9" fmla="*/ 2147483647 h 419"/>
                    <a:gd name="T10" fmla="*/ 2147483647 w 367"/>
                    <a:gd name="T11" fmla="*/ 2147483647 h 419"/>
                    <a:gd name="T12" fmla="*/ 2147483647 w 367"/>
                    <a:gd name="T13" fmla="*/ 2147483647 h 419"/>
                    <a:gd name="T14" fmla="*/ 2147483647 w 367"/>
                    <a:gd name="T15" fmla="*/ 2147483647 h 419"/>
                    <a:gd name="T16" fmla="*/ 0 w 367"/>
                    <a:gd name="T17" fmla="*/ 2147483647 h 419"/>
                    <a:gd name="T18" fmla="*/ 0 w 367"/>
                    <a:gd name="T19" fmla="*/ 2147483647 h 419"/>
                    <a:gd name="T20" fmla="*/ 2147483647 w 367"/>
                    <a:gd name="T21" fmla="*/ 2147483647 h 419"/>
                    <a:gd name="T22" fmla="*/ 2147483647 w 367"/>
                    <a:gd name="T23" fmla="*/ 2147483647 h 419"/>
                    <a:gd name="T24" fmla="*/ 0 w 367"/>
                    <a:gd name="T25" fmla="*/ 2147483647 h 419"/>
                    <a:gd name="T26" fmla="*/ 0 w 367"/>
                    <a:gd name="T27" fmla="*/ 2147483647 h 419"/>
                    <a:gd name="T28" fmla="*/ 2147483647 w 367"/>
                    <a:gd name="T29" fmla="*/ 2147483647 h 419"/>
                    <a:gd name="T30" fmla="*/ 2147483647 w 367"/>
                    <a:gd name="T31" fmla="*/ 2147483647 h 419"/>
                    <a:gd name="T32" fmla="*/ 2147483647 w 367"/>
                    <a:gd name="T33" fmla="*/ 2147483647 h 419"/>
                    <a:gd name="T34" fmla="*/ 2147483647 w 367"/>
                    <a:gd name="T35" fmla="*/ 2147483647 h 419"/>
                    <a:gd name="T36" fmla="*/ 2147483647 w 367"/>
                    <a:gd name="T37" fmla="*/ 2147483647 h 419"/>
                    <a:gd name="T38" fmla="*/ 2147483647 w 367"/>
                    <a:gd name="T39" fmla="*/ 2147483647 h 419"/>
                    <a:gd name="T40" fmla="*/ 2147483647 w 367"/>
                    <a:gd name="T41" fmla="*/ 2147483647 h 419"/>
                    <a:gd name="T42" fmla="*/ 2147483647 w 367"/>
                    <a:gd name="T43" fmla="*/ 2147483647 h 419"/>
                    <a:gd name="T44" fmla="*/ 2147483647 w 367"/>
                    <a:gd name="T45" fmla="*/ 2147483647 h 419"/>
                    <a:gd name="T46" fmla="*/ 2147483647 w 367"/>
                    <a:gd name="T47" fmla="*/ 2147483647 h 419"/>
                    <a:gd name="T48" fmla="*/ 2147483647 w 367"/>
                    <a:gd name="T49" fmla="*/ 2147483647 h 419"/>
                    <a:gd name="T50" fmla="*/ 2147483647 w 367"/>
                    <a:gd name="T51" fmla="*/ 2147483647 h 419"/>
                    <a:gd name="T52" fmla="*/ 2147483647 w 367"/>
                    <a:gd name="T53" fmla="*/ 2147483647 h 419"/>
                    <a:gd name="T54" fmla="*/ 2147483647 w 367"/>
                    <a:gd name="T55" fmla="*/ 2147483647 h 419"/>
                    <a:gd name="T56" fmla="*/ 2147483647 w 367"/>
                    <a:gd name="T57" fmla="*/ 2147483647 h 419"/>
                    <a:gd name="T58" fmla="*/ 2147483647 w 367"/>
                    <a:gd name="T59" fmla="*/ 2147483647 h 419"/>
                    <a:gd name="T60" fmla="*/ 2147483647 w 367"/>
                    <a:gd name="T61" fmla="*/ 2147483647 h 41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67"/>
                    <a:gd name="T94" fmla="*/ 0 h 419"/>
                    <a:gd name="T95" fmla="*/ 367 w 367"/>
                    <a:gd name="T96" fmla="*/ 419 h 41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67" h="419">
                      <a:moveTo>
                        <a:pt x="218" y="13"/>
                      </a:moveTo>
                      <a:lnTo>
                        <a:pt x="205" y="13"/>
                      </a:lnTo>
                      <a:lnTo>
                        <a:pt x="186" y="0"/>
                      </a:lnTo>
                      <a:lnTo>
                        <a:pt x="166" y="0"/>
                      </a:lnTo>
                      <a:lnTo>
                        <a:pt x="147" y="13"/>
                      </a:lnTo>
                      <a:lnTo>
                        <a:pt x="109" y="33"/>
                      </a:lnTo>
                      <a:lnTo>
                        <a:pt x="57" y="13"/>
                      </a:lnTo>
                      <a:lnTo>
                        <a:pt x="19" y="13"/>
                      </a:lnTo>
                      <a:lnTo>
                        <a:pt x="0" y="33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48"/>
                      </a:lnTo>
                      <a:lnTo>
                        <a:pt x="0" y="189"/>
                      </a:lnTo>
                      <a:lnTo>
                        <a:pt x="0" y="304"/>
                      </a:lnTo>
                      <a:lnTo>
                        <a:pt x="19" y="324"/>
                      </a:lnTo>
                      <a:lnTo>
                        <a:pt x="96" y="324"/>
                      </a:lnTo>
                      <a:lnTo>
                        <a:pt x="109" y="344"/>
                      </a:lnTo>
                      <a:lnTo>
                        <a:pt x="128" y="397"/>
                      </a:lnTo>
                      <a:lnTo>
                        <a:pt x="147" y="418"/>
                      </a:lnTo>
                      <a:lnTo>
                        <a:pt x="186" y="418"/>
                      </a:lnTo>
                      <a:lnTo>
                        <a:pt x="186" y="397"/>
                      </a:lnTo>
                      <a:lnTo>
                        <a:pt x="218" y="344"/>
                      </a:lnTo>
                      <a:lnTo>
                        <a:pt x="237" y="324"/>
                      </a:lnTo>
                      <a:lnTo>
                        <a:pt x="295" y="263"/>
                      </a:lnTo>
                      <a:lnTo>
                        <a:pt x="327" y="209"/>
                      </a:lnTo>
                      <a:lnTo>
                        <a:pt x="366" y="148"/>
                      </a:lnTo>
                      <a:lnTo>
                        <a:pt x="366" y="114"/>
                      </a:lnTo>
                      <a:lnTo>
                        <a:pt x="327" y="114"/>
                      </a:lnTo>
                      <a:lnTo>
                        <a:pt x="256" y="54"/>
                      </a:lnTo>
                      <a:lnTo>
                        <a:pt x="218" y="33"/>
                      </a:lnTo>
                      <a:lnTo>
                        <a:pt x="21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" name="Freeform 23"/>
                <p:cNvSpPr>
                  <a:spLocks/>
                </p:cNvSpPr>
                <p:nvPr/>
              </p:nvSpPr>
              <p:spPr bwMode="blackWhite">
                <a:xfrm>
                  <a:off x="1024013" y="2648180"/>
                  <a:ext cx="613705" cy="560575"/>
                </a:xfrm>
                <a:custGeom>
                  <a:avLst/>
                  <a:gdLst>
                    <a:gd name="T0" fmla="*/ 2147483647 w 406"/>
                    <a:gd name="T1" fmla="*/ 2147483647 h 364"/>
                    <a:gd name="T2" fmla="*/ 2147483647 w 406"/>
                    <a:gd name="T3" fmla="*/ 2147483647 h 364"/>
                    <a:gd name="T4" fmla="*/ 2147483647 w 406"/>
                    <a:gd name="T5" fmla="*/ 2147483647 h 364"/>
                    <a:gd name="T6" fmla="*/ 2147483647 w 406"/>
                    <a:gd name="T7" fmla="*/ 2147483647 h 364"/>
                    <a:gd name="T8" fmla="*/ 2147483647 w 406"/>
                    <a:gd name="T9" fmla="*/ 2147483647 h 364"/>
                    <a:gd name="T10" fmla="*/ 2147483647 w 406"/>
                    <a:gd name="T11" fmla="*/ 2147483647 h 364"/>
                    <a:gd name="T12" fmla="*/ 2147483647 w 406"/>
                    <a:gd name="T13" fmla="*/ 2147483647 h 364"/>
                    <a:gd name="T14" fmla="*/ 2147483647 w 406"/>
                    <a:gd name="T15" fmla="*/ 0 h 364"/>
                    <a:gd name="T16" fmla="*/ 2147483647 w 406"/>
                    <a:gd name="T17" fmla="*/ 2147483647 h 364"/>
                    <a:gd name="T18" fmla="*/ 2147483647 w 406"/>
                    <a:gd name="T19" fmla="*/ 2147483647 h 364"/>
                    <a:gd name="T20" fmla="*/ 2147483647 w 406"/>
                    <a:gd name="T21" fmla="*/ 2147483647 h 364"/>
                    <a:gd name="T22" fmla="*/ 2147483647 w 406"/>
                    <a:gd name="T23" fmla="*/ 2147483647 h 364"/>
                    <a:gd name="T24" fmla="*/ 2147483647 w 406"/>
                    <a:gd name="T25" fmla="*/ 2147483647 h 364"/>
                    <a:gd name="T26" fmla="*/ 2147483647 w 406"/>
                    <a:gd name="T27" fmla="*/ 2147483647 h 364"/>
                    <a:gd name="T28" fmla="*/ 0 w 406"/>
                    <a:gd name="T29" fmla="*/ 2147483647 h 364"/>
                    <a:gd name="T30" fmla="*/ 2147483647 w 406"/>
                    <a:gd name="T31" fmla="*/ 2147483647 h 364"/>
                    <a:gd name="T32" fmla="*/ 2147483647 w 406"/>
                    <a:gd name="T33" fmla="*/ 2147483647 h 364"/>
                    <a:gd name="T34" fmla="*/ 2147483647 w 406"/>
                    <a:gd name="T35" fmla="*/ 2147483647 h 364"/>
                    <a:gd name="T36" fmla="*/ 2147483647 w 406"/>
                    <a:gd name="T37" fmla="*/ 2147483647 h 364"/>
                    <a:gd name="T38" fmla="*/ 2147483647 w 406"/>
                    <a:gd name="T39" fmla="*/ 2147483647 h 364"/>
                    <a:gd name="T40" fmla="*/ 2147483647 w 406"/>
                    <a:gd name="T41" fmla="*/ 2147483647 h 364"/>
                    <a:gd name="T42" fmla="*/ 2147483647 w 406"/>
                    <a:gd name="T43" fmla="*/ 2147483647 h 364"/>
                    <a:gd name="T44" fmla="*/ 2147483647 w 406"/>
                    <a:gd name="T45" fmla="*/ 2147483647 h 364"/>
                    <a:gd name="T46" fmla="*/ 2147483647 w 406"/>
                    <a:gd name="T47" fmla="*/ 2147483647 h 364"/>
                    <a:gd name="T48" fmla="*/ 2147483647 w 406"/>
                    <a:gd name="T49" fmla="*/ 2147483647 h 364"/>
                    <a:gd name="T50" fmla="*/ 2147483647 w 406"/>
                    <a:gd name="T51" fmla="*/ 2147483647 h 364"/>
                    <a:gd name="T52" fmla="*/ 2147483647 w 406"/>
                    <a:gd name="T53" fmla="*/ 2147483647 h 364"/>
                    <a:gd name="T54" fmla="*/ 2147483647 w 406"/>
                    <a:gd name="T55" fmla="*/ 2147483647 h 364"/>
                    <a:gd name="T56" fmla="*/ 2147483647 w 406"/>
                    <a:gd name="T57" fmla="*/ 2147483647 h 364"/>
                    <a:gd name="T58" fmla="*/ 2147483647 w 406"/>
                    <a:gd name="T59" fmla="*/ 2147483647 h 36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406"/>
                    <a:gd name="T91" fmla="*/ 0 h 364"/>
                    <a:gd name="T92" fmla="*/ 406 w 406"/>
                    <a:gd name="T93" fmla="*/ 364 h 36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406" h="364">
                      <a:moveTo>
                        <a:pt x="327" y="60"/>
                      </a:moveTo>
                      <a:lnTo>
                        <a:pt x="295" y="60"/>
                      </a:lnTo>
                      <a:lnTo>
                        <a:pt x="276" y="80"/>
                      </a:lnTo>
                      <a:lnTo>
                        <a:pt x="257" y="80"/>
                      </a:lnTo>
                      <a:lnTo>
                        <a:pt x="257" y="40"/>
                      </a:lnTo>
                      <a:lnTo>
                        <a:pt x="237" y="2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47" y="40"/>
                      </a:lnTo>
                      <a:lnTo>
                        <a:pt x="128" y="60"/>
                      </a:lnTo>
                      <a:lnTo>
                        <a:pt x="96" y="80"/>
                      </a:lnTo>
                      <a:lnTo>
                        <a:pt x="96" y="93"/>
                      </a:lnTo>
                      <a:lnTo>
                        <a:pt x="38" y="113"/>
                      </a:lnTo>
                      <a:lnTo>
                        <a:pt x="0" y="154"/>
                      </a:lnTo>
                      <a:lnTo>
                        <a:pt x="19" y="174"/>
                      </a:lnTo>
                      <a:lnTo>
                        <a:pt x="57" y="154"/>
                      </a:lnTo>
                      <a:lnTo>
                        <a:pt x="77" y="154"/>
                      </a:lnTo>
                      <a:lnTo>
                        <a:pt x="96" y="174"/>
                      </a:lnTo>
                      <a:lnTo>
                        <a:pt x="96" y="228"/>
                      </a:lnTo>
                      <a:lnTo>
                        <a:pt x="128" y="288"/>
                      </a:lnTo>
                      <a:lnTo>
                        <a:pt x="205" y="309"/>
                      </a:lnTo>
                      <a:lnTo>
                        <a:pt x="237" y="322"/>
                      </a:lnTo>
                      <a:lnTo>
                        <a:pt x="327" y="342"/>
                      </a:lnTo>
                      <a:lnTo>
                        <a:pt x="366" y="363"/>
                      </a:lnTo>
                      <a:lnTo>
                        <a:pt x="405" y="288"/>
                      </a:lnTo>
                      <a:lnTo>
                        <a:pt x="405" y="208"/>
                      </a:lnTo>
                      <a:lnTo>
                        <a:pt x="315" y="194"/>
                      </a:lnTo>
                      <a:lnTo>
                        <a:pt x="315" y="93"/>
                      </a:lnTo>
                      <a:lnTo>
                        <a:pt x="327" y="6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" name="Freeform 24"/>
                <p:cNvSpPr>
                  <a:spLocks/>
                </p:cNvSpPr>
                <p:nvPr/>
              </p:nvSpPr>
              <p:spPr bwMode="blackWhite">
                <a:xfrm>
                  <a:off x="443922" y="2651433"/>
                  <a:ext cx="631053" cy="356730"/>
                </a:xfrm>
                <a:custGeom>
                  <a:avLst/>
                  <a:gdLst>
                    <a:gd name="T0" fmla="*/ 0 w 418"/>
                    <a:gd name="T1" fmla="*/ 0 h 229"/>
                    <a:gd name="T2" fmla="*/ 2147483647 w 418"/>
                    <a:gd name="T3" fmla="*/ 2147483647 h 229"/>
                    <a:gd name="T4" fmla="*/ 2147483647 w 418"/>
                    <a:gd name="T5" fmla="*/ 2147483647 h 229"/>
                    <a:gd name="T6" fmla="*/ 2147483647 w 418"/>
                    <a:gd name="T7" fmla="*/ 2147483647 h 229"/>
                    <a:gd name="T8" fmla="*/ 2147483647 w 418"/>
                    <a:gd name="T9" fmla="*/ 2147483647 h 229"/>
                    <a:gd name="T10" fmla="*/ 2147483647 w 418"/>
                    <a:gd name="T11" fmla="*/ 2147483647 h 229"/>
                    <a:gd name="T12" fmla="*/ 2147483647 w 418"/>
                    <a:gd name="T13" fmla="*/ 2147483647 h 229"/>
                    <a:gd name="T14" fmla="*/ 2147483647 w 418"/>
                    <a:gd name="T15" fmla="*/ 2147483647 h 229"/>
                    <a:gd name="T16" fmla="*/ 2147483647 w 418"/>
                    <a:gd name="T17" fmla="*/ 2147483647 h 229"/>
                    <a:gd name="T18" fmla="*/ 2147483647 w 418"/>
                    <a:gd name="T19" fmla="*/ 2147483647 h 229"/>
                    <a:gd name="T20" fmla="*/ 2147483647 w 418"/>
                    <a:gd name="T21" fmla="*/ 2147483647 h 229"/>
                    <a:gd name="T22" fmla="*/ 2147483647 w 418"/>
                    <a:gd name="T23" fmla="*/ 2147483647 h 229"/>
                    <a:gd name="T24" fmla="*/ 2147483647 w 418"/>
                    <a:gd name="T25" fmla="*/ 2147483647 h 229"/>
                    <a:gd name="T26" fmla="*/ 2147483647 w 418"/>
                    <a:gd name="T27" fmla="*/ 2147483647 h 229"/>
                    <a:gd name="T28" fmla="*/ 2147483647 w 418"/>
                    <a:gd name="T29" fmla="*/ 2147483647 h 229"/>
                    <a:gd name="T30" fmla="*/ 2147483647 w 418"/>
                    <a:gd name="T31" fmla="*/ 2147483647 h 229"/>
                    <a:gd name="T32" fmla="*/ 2147483647 w 418"/>
                    <a:gd name="T33" fmla="*/ 2147483647 h 229"/>
                    <a:gd name="T34" fmla="*/ 2147483647 w 418"/>
                    <a:gd name="T35" fmla="*/ 2147483647 h 229"/>
                    <a:gd name="T36" fmla="*/ 2147483647 w 418"/>
                    <a:gd name="T37" fmla="*/ 2147483647 h 229"/>
                    <a:gd name="T38" fmla="*/ 2147483647 w 418"/>
                    <a:gd name="T39" fmla="*/ 2147483647 h 229"/>
                    <a:gd name="T40" fmla="*/ 0 w 418"/>
                    <a:gd name="T41" fmla="*/ 2147483647 h 229"/>
                    <a:gd name="T42" fmla="*/ 0 w 418"/>
                    <a:gd name="T43" fmla="*/ 0 h 22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18"/>
                    <a:gd name="T67" fmla="*/ 0 h 229"/>
                    <a:gd name="T68" fmla="*/ 418 w 418"/>
                    <a:gd name="T69" fmla="*/ 229 h 22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18" h="229">
                      <a:moveTo>
                        <a:pt x="0" y="0"/>
                      </a:moveTo>
                      <a:lnTo>
                        <a:pt x="38" y="20"/>
                      </a:lnTo>
                      <a:lnTo>
                        <a:pt x="89" y="40"/>
                      </a:lnTo>
                      <a:lnTo>
                        <a:pt x="147" y="40"/>
                      </a:lnTo>
                      <a:lnTo>
                        <a:pt x="199" y="60"/>
                      </a:lnTo>
                      <a:lnTo>
                        <a:pt x="275" y="93"/>
                      </a:lnTo>
                      <a:lnTo>
                        <a:pt x="327" y="133"/>
                      </a:lnTo>
                      <a:lnTo>
                        <a:pt x="397" y="153"/>
                      </a:lnTo>
                      <a:lnTo>
                        <a:pt x="417" y="174"/>
                      </a:lnTo>
                      <a:lnTo>
                        <a:pt x="365" y="207"/>
                      </a:lnTo>
                      <a:lnTo>
                        <a:pt x="288" y="228"/>
                      </a:lnTo>
                      <a:lnTo>
                        <a:pt x="199" y="228"/>
                      </a:lnTo>
                      <a:lnTo>
                        <a:pt x="179" y="207"/>
                      </a:lnTo>
                      <a:lnTo>
                        <a:pt x="179" y="153"/>
                      </a:lnTo>
                      <a:lnTo>
                        <a:pt x="147" y="194"/>
                      </a:lnTo>
                      <a:lnTo>
                        <a:pt x="109" y="194"/>
                      </a:lnTo>
                      <a:lnTo>
                        <a:pt x="89" y="174"/>
                      </a:lnTo>
                      <a:lnTo>
                        <a:pt x="70" y="174"/>
                      </a:lnTo>
                      <a:lnTo>
                        <a:pt x="57" y="133"/>
                      </a:lnTo>
                      <a:lnTo>
                        <a:pt x="19" y="93"/>
                      </a:lnTo>
                      <a:lnTo>
                        <a:pt x="0" y="6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" name="Freeform 25"/>
                <p:cNvSpPr>
                  <a:spLocks/>
                </p:cNvSpPr>
                <p:nvPr/>
              </p:nvSpPr>
              <p:spPr bwMode="blackWhite">
                <a:xfrm>
                  <a:off x="1626875" y="1631121"/>
                  <a:ext cx="1158015" cy="1176448"/>
                </a:xfrm>
                <a:custGeom>
                  <a:avLst/>
                  <a:gdLst>
                    <a:gd name="T0" fmla="*/ 0 w 765"/>
                    <a:gd name="T1" fmla="*/ 2147483647 h 762"/>
                    <a:gd name="T2" fmla="*/ 2147483647 w 765"/>
                    <a:gd name="T3" fmla="*/ 2147483647 h 762"/>
                    <a:gd name="T4" fmla="*/ 2147483647 w 765"/>
                    <a:gd name="T5" fmla="*/ 2147483647 h 762"/>
                    <a:gd name="T6" fmla="*/ 2147483647 w 765"/>
                    <a:gd name="T7" fmla="*/ 2147483647 h 762"/>
                    <a:gd name="T8" fmla="*/ 2147483647 w 765"/>
                    <a:gd name="T9" fmla="*/ 2147483647 h 762"/>
                    <a:gd name="T10" fmla="*/ 2147483647 w 765"/>
                    <a:gd name="T11" fmla="*/ 2147483647 h 762"/>
                    <a:gd name="T12" fmla="*/ 2147483647 w 765"/>
                    <a:gd name="T13" fmla="*/ 2147483647 h 762"/>
                    <a:gd name="T14" fmla="*/ 2147483647 w 765"/>
                    <a:gd name="T15" fmla="*/ 2147483647 h 762"/>
                    <a:gd name="T16" fmla="*/ 2147483647 w 765"/>
                    <a:gd name="T17" fmla="*/ 2147483647 h 762"/>
                    <a:gd name="T18" fmla="*/ 2147483647 w 765"/>
                    <a:gd name="T19" fmla="*/ 2147483647 h 762"/>
                    <a:gd name="T20" fmla="*/ 2147483647 w 765"/>
                    <a:gd name="T21" fmla="*/ 2147483647 h 762"/>
                    <a:gd name="T22" fmla="*/ 2147483647 w 765"/>
                    <a:gd name="T23" fmla="*/ 2147483647 h 762"/>
                    <a:gd name="T24" fmla="*/ 2147483647 w 765"/>
                    <a:gd name="T25" fmla="*/ 2147483647 h 762"/>
                    <a:gd name="T26" fmla="*/ 2147483647 w 765"/>
                    <a:gd name="T27" fmla="*/ 2147483647 h 762"/>
                    <a:gd name="T28" fmla="*/ 2147483647 w 765"/>
                    <a:gd name="T29" fmla="*/ 2147483647 h 762"/>
                    <a:gd name="T30" fmla="*/ 2147483647 w 765"/>
                    <a:gd name="T31" fmla="*/ 2147483647 h 762"/>
                    <a:gd name="T32" fmla="*/ 2147483647 w 765"/>
                    <a:gd name="T33" fmla="*/ 2147483647 h 762"/>
                    <a:gd name="T34" fmla="*/ 2147483647 w 765"/>
                    <a:gd name="T35" fmla="*/ 2147483647 h 762"/>
                    <a:gd name="T36" fmla="*/ 2147483647 w 765"/>
                    <a:gd name="T37" fmla="*/ 2147483647 h 762"/>
                    <a:gd name="T38" fmla="*/ 2147483647 w 765"/>
                    <a:gd name="T39" fmla="*/ 2147483647 h 762"/>
                    <a:gd name="T40" fmla="*/ 2147483647 w 765"/>
                    <a:gd name="T41" fmla="*/ 2147483647 h 762"/>
                    <a:gd name="T42" fmla="*/ 2147483647 w 765"/>
                    <a:gd name="T43" fmla="*/ 2147483647 h 762"/>
                    <a:gd name="T44" fmla="*/ 2147483647 w 765"/>
                    <a:gd name="T45" fmla="*/ 2147483647 h 762"/>
                    <a:gd name="T46" fmla="*/ 2147483647 w 765"/>
                    <a:gd name="T47" fmla="*/ 2147483647 h 762"/>
                    <a:gd name="T48" fmla="*/ 2147483647 w 765"/>
                    <a:gd name="T49" fmla="*/ 2147483647 h 762"/>
                    <a:gd name="T50" fmla="*/ 2147483647 w 765"/>
                    <a:gd name="T51" fmla="*/ 2147483647 h 762"/>
                    <a:gd name="T52" fmla="*/ 2147483647 w 765"/>
                    <a:gd name="T53" fmla="*/ 2147483647 h 762"/>
                    <a:gd name="T54" fmla="*/ 2147483647 w 765"/>
                    <a:gd name="T55" fmla="*/ 2147483647 h 762"/>
                    <a:gd name="T56" fmla="*/ 2147483647 w 765"/>
                    <a:gd name="T57" fmla="*/ 2147483647 h 762"/>
                    <a:gd name="T58" fmla="*/ 2147483647 w 765"/>
                    <a:gd name="T59" fmla="*/ 2147483647 h 762"/>
                    <a:gd name="T60" fmla="*/ 2147483647 w 765"/>
                    <a:gd name="T61" fmla="*/ 2147483647 h 762"/>
                    <a:gd name="T62" fmla="*/ 2147483647 w 765"/>
                    <a:gd name="T63" fmla="*/ 2147483647 h 762"/>
                    <a:gd name="T64" fmla="*/ 2147483647 w 765"/>
                    <a:gd name="T65" fmla="*/ 2147483647 h 762"/>
                    <a:gd name="T66" fmla="*/ 2147483647 w 765"/>
                    <a:gd name="T67" fmla="*/ 2147483647 h 762"/>
                    <a:gd name="T68" fmla="*/ 2147483647 w 765"/>
                    <a:gd name="T69" fmla="*/ 2147483647 h 762"/>
                    <a:gd name="T70" fmla="*/ 2147483647 w 765"/>
                    <a:gd name="T71" fmla="*/ 2147483647 h 762"/>
                    <a:gd name="T72" fmla="*/ 2147483647 w 765"/>
                    <a:gd name="T73" fmla="*/ 2147483647 h 762"/>
                    <a:gd name="T74" fmla="*/ 2147483647 w 765"/>
                    <a:gd name="T75" fmla="*/ 2147483647 h 762"/>
                    <a:gd name="T76" fmla="*/ 2147483647 w 765"/>
                    <a:gd name="T77" fmla="*/ 2147483647 h 762"/>
                    <a:gd name="T78" fmla="*/ 2147483647 w 765"/>
                    <a:gd name="T79" fmla="*/ 2147483647 h 762"/>
                    <a:gd name="T80" fmla="*/ 2147483647 w 765"/>
                    <a:gd name="T81" fmla="*/ 2147483647 h 762"/>
                    <a:gd name="T82" fmla="*/ 2147483647 w 765"/>
                    <a:gd name="T83" fmla="*/ 2147483647 h 762"/>
                    <a:gd name="T84" fmla="*/ 2147483647 w 765"/>
                    <a:gd name="T85" fmla="*/ 2147483647 h 762"/>
                    <a:gd name="T86" fmla="*/ 2147483647 w 765"/>
                    <a:gd name="T87" fmla="*/ 2147483647 h 762"/>
                    <a:gd name="T88" fmla="*/ 2147483647 w 765"/>
                    <a:gd name="T89" fmla="*/ 2147483647 h 762"/>
                    <a:gd name="T90" fmla="*/ 2147483647 w 765"/>
                    <a:gd name="T91" fmla="*/ 0 h 762"/>
                    <a:gd name="T92" fmla="*/ 2147483647 w 765"/>
                    <a:gd name="T93" fmla="*/ 0 h 762"/>
                    <a:gd name="T94" fmla="*/ 2147483647 w 765"/>
                    <a:gd name="T95" fmla="*/ 2147483647 h 762"/>
                    <a:gd name="T96" fmla="*/ 2147483647 w 765"/>
                    <a:gd name="T97" fmla="*/ 2147483647 h 762"/>
                    <a:gd name="T98" fmla="*/ 2147483647 w 765"/>
                    <a:gd name="T99" fmla="*/ 2147483647 h 762"/>
                    <a:gd name="T100" fmla="*/ 2147483647 w 765"/>
                    <a:gd name="T101" fmla="*/ 2147483647 h 762"/>
                    <a:gd name="T102" fmla="*/ 2147483647 w 765"/>
                    <a:gd name="T103" fmla="*/ 2147483647 h 762"/>
                    <a:gd name="T104" fmla="*/ 2147483647 w 765"/>
                    <a:gd name="T105" fmla="*/ 2147483647 h 762"/>
                    <a:gd name="T106" fmla="*/ 0 w 765"/>
                    <a:gd name="T107" fmla="*/ 2147483647 h 76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765"/>
                    <a:gd name="T163" fmla="*/ 0 h 762"/>
                    <a:gd name="T164" fmla="*/ 765 w 765"/>
                    <a:gd name="T165" fmla="*/ 762 h 76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765" h="762">
                      <a:moveTo>
                        <a:pt x="0" y="74"/>
                      </a:moveTo>
                      <a:lnTo>
                        <a:pt x="19" y="134"/>
                      </a:lnTo>
                      <a:lnTo>
                        <a:pt x="19" y="175"/>
                      </a:lnTo>
                      <a:lnTo>
                        <a:pt x="51" y="249"/>
                      </a:lnTo>
                      <a:lnTo>
                        <a:pt x="70" y="269"/>
                      </a:lnTo>
                      <a:lnTo>
                        <a:pt x="109" y="269"/>
                      </a:lnTo>
                      <a:lnTo>
                        <a:pt x="147" y="290"/>
                      </a:lnTo>
                      <a:lnTo>
                        <a:pt x="147" y="323"/>
                      </a:lnTo>
                      <a:lnTo>
                        <a:pt x="159" y="343"/>
                      </a:lnTo>
                      <a:lnTo>
                        <a:pt x="89" y="552"/>
                      </a:lnTo>
                      <a:lnTo>
                        <a:pt x="89" y="613"/>
                      </a:lnTo>
                      <a:lnTo>
                        <a:pt x="128" y="667"/>
                      </a:lnTo>
                      <a:lnTo>
                        <a:pt x="147" y="707"/>
                      </a:lnTo>
                      <a:lnTo>
                        <a:pt x="159" y="728"/>
                      </a:lnTo>
                      <a:lnTo>
                        <a:pt x="198" y="747"/>
                      </a:lnTo>
                      <a:lnTo>
                        <a:pt x="526" y="761"/>
                      </a:lnTo>
                      <a:lnTo>
                        <a:pt x="564" y="707"/>
                      </a:lnTo>
                      <a:lnTo>
                        <a:pt x="584" y="667"/>
                      </a:lnTo>
                      <a:lnTo>
                        <a:pt x="584" y="613"/>
                      </a:lnTo>
                      <a:lnTo>
                        <a:pt x="596" y="572"/>
                      </a:lnTo>
                      <a:lnTo>
                        <a:pt x="654" y="518"/>
                      </a:lnTo>
                      <a:lnTo>
                        <a:pt x="654" y="498"/>
                      </a:lnTo>
                      <a:lnTo>
                        <a:pt x="635" y="478"/>
                      </a:lnTo>
                      <a:lnTo>
                        <a:pt x="654" y="458"/>
                      </a:lnTo>
                      <a:lnTo>
                        <a:pt x="693" y="437"/>
                      </a:lnTo>
                      <a:lnTo>
                        <a:pt x="725" y="404"/>
                      </a:lnTo>
                      <a:lnTo>
                        <a:pt x="744" y="343"/>
                      </a:lnTo>
                      <a:lnTo>
                        <a:pt x="764" y="269"/>
                      </a:lnTo>
                      <a:lnTo>
                        <a:pt x="764" y="209"/>
                      </a:lnTo>
                      <a:lnTo>
                        <a:pt x="744" y="188"/>
                      </a:lnTo>
                      <a:lnTo>
                        <a:pt x="674" y="175"/>
                      </a:lnTo>
                      <a:lnTo>
                        <a:pt x="654" y="209"/>
                      </a:lnTo>
                      <a:lnTo>
                        <a:pt x="616" y="249"/>
                      </a:lnTo>
                      <a:lnTo>
                        <a:pt x="596" y="290"/>
                      </a:lnTo>
                      <a:lnTo>
                        <a:pt x="584" y="343"/>
                      </a:lnTo>
                      <a:lnTo>
                        <a:pt x="584" y="290"/>
                      </a:lnTo>
                      <a:lnTo>
                        <a:pt x="506" y="269"/>
                      </a:lnTo>
                      <a:lnTo>
                        <a:pt x="474" y="229"/>
                      </a:lnTo>
                      <a:lnTo>
                        <a:pt x="436" y="229"/>
                      </a:lnTo>
                      <a:lnTo>
                        <a:pt x="397" y="188"/>
                      </a:lnTo>
                      <a:lnTo>
                        <a:pt x="378" y="134"/>
                      </a:lnTo>
                      <a:lnTo>
                        <a:pt x="346" y="74"/>
                      </a:lnTo>
                      <a:lnTo>
                        <a:pt x="307" y="60"/>
                      </a:lnTo>
                      <a:lnTo>
                        <a:pt x="288" y="60"/>
                      </a:lnTo>
                      <a:lnTo>
                        <a:pt x="256" y="40"/>
                      </a:lnTo>
                      <a:lnTo>
                        <a:pt x="256" y="0"/>
                      </a:lnTo>
                      <a:lnTo>
                        <a:pt x="198" y="0"/>
                      </a:lnTo>
                      <a:lnTo>
                        <a:pt x="179" y="20"/>
                      </a:lnTo>
                      <a:lnTo>
                        <a:pt x="198" y="20"/>
                      </a:lnTo>
                      <a:lnTo>
                        <a:pt x="179" y="40"/>
                      </a:lnTo>
                      <a:lnTo>
                        <a:pt x="128" y="40"/>
                      </a:lnTo>
                      <a:lnTo>
                        <a:pt x="70" y="60"/>
                      </a:lnTo>
                      <a:lnTo>
                        <a:pt x="19" y="74"/>
                      </a:lnTo>
                      <a:lnTo>
                        <a:pt x="0" y="7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7" name="Freeform 26"/>
                <p:cNvSpPr>
                  <a:spLocks/>
                </p:cNvSpPr>
                <p:nvPr/>
              </p:nvSpPr>
              <p:spPr bwMode="blackWhite">
                <a:xfrm>
                  <a:off x="1987941" y="1490165"/>
                  <a:ext cx="439135" cy="502024"/>
                </a:xfrm>
                <a:custGeom>
                  <a:avLst/>
                  <a:gdLst>
                    <a:gd name="T0" fmla="*/ 2147483647 w 291"/>
                    <a:gd name="T1" fmla="*/ 2147483647 h 325"/>
                    <a:gd name="T2" fmla="*/ 2147483647 w 291"/>
                    <a:gd name="T3" fmla="*/ 2147483647 h 325"/>
                    <a:gd name="T4" fmla="*/ 2147483647 w 291"/>
                    <a:gd name="T5" fmla="*/ 2147483647 h 325"/>
                    <a:gd name="T6" fmla="*/ 2147483647 w 291"/>
                    <a:gd name="T7" fmla="*/ 2147483647 h 325"/>
                    <a:gd name="T8" fmla="*/ 2147483647 w 291"/>
                    <a:gd name="T9" fmla="*/ 2147483647 h 325"/>
                    <a:gd name="T10" fmla="*/ 2147483647 w 291"/>
                    <a:gd name="T11" fmla="*/ 2147483647 h 325"/>
                    <a:gd name="T12" fmla="*/ 2147483647 w 291"/>
                    <a:gd name="T13" fmla="*/ 2147483647 h 325"/>
                    <a:gd name="T14" fmla="*/ 0 w 291"/>
                    <a:gd name="T15" fmla="*/ 2147483647 h 325"/>
                    <a:gd name="T16" fmla="*/ 0 w 291"/>
                    <a:gd name="T17" fmla="*/ 2147483647 h 325"/>
                    <a:gd name="T18" fmla="*/ 2147483647 w 291"/>
                    <a:gd name="T19" fmla="*/ 2147483647 h 325"/>
                    <a:gd name="T20" fmla="*/ 2147483647 w 291"/>
                    <a:gd name="T21" fmla="*/ 2147483647 h 325"/>
                    <a:gd name="T22" fmla="*/ 2147483647 w 291"/>
                    <a:gd name="T23" fmla="*/ 2147483647 h 325"/>
                    <a:gd name="T24" fmla="*/ 2147483647 w 291"/>
                    <a:gd name="T25" fmla="*/ 2147483647 h 325"/>
                    <a:gd name="T26" fmla="*/ 2147483647 w 291"/>
                    <a:gd name="T27" fmla="*/ 0 h 325"/>
                    <a:gd name="T28" fmla="*/ 2147483647 w 291"/>
                    <a:gd name="T29" fmla="*/ 0 h 325"/>
                    <a:gd name="T30" fmla="*/ 2147483647 w 291"/>
                    <a:gd name="T31" fmla="*/ 2147483647 h 325"/>
                    <a:gd name="T32" fmla="*/ 2147483647 w 291"/>
                    <a:gd name="T33" fmla="*/ 2147483647 h 325"/>
                    <a:gd name="T34" fmla="*/ 2147483647 w 291"/>
                    <a:gd name="T35" fmla="*/ 2147483647 h 325"/>
                    <a:gd name="T36" fmla="*/ 2147483647 w 291"/>
                    <a:gd name="T37" fmla="*/ 2147483647 h 325"/>
                    <a:gd name="T38" fmla="*/ 2147483647 w 291"/>
                    <a:gd name="T39" fmla="*/ 2147483647 h 325"/>
                    <a:gd name="T40" fmla="*/ 2147483647 w 291"/>
                    <a:gd name="T41" fmla="*/ 2147483647 h 325"/>
                    <a:gd name="T42" fmla="*/ 2147483647 w 291"/>
                    <a:gd name="T43" fmla="*/ 2147483647 h 325"/>
                    <a:gd name="T44" fmla="*/ 2147483647 w 291"/>
                    <a:gd name="T45" fmla="*/ 2147483647 h 325"/>
                    <a:gd name="T46" fmla="*/ 2147483647 w 291"/>
                    <a:gd name="T47" fmla="*/ 2147483647 h 32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91"/>
                    <a:gd name="T73" fmla="*/ 0 h 325"/>
                    <a:gd name="T74" fmla="*/ 291 w 291"/>
                    <a:gd name="T75" fmla="*/ 325 h 32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91" h="325">
                      <a:moveTo>
                        <a:pt x="219" y="324"/>
                      </a:moveTo>
                      <a:lnTo>
                        <a:pt x="180" y="324"/>
                      </a:lnTo>
                      <a:lnTo>
                        <a:pt x="141" y="283"/>
                      </a:lnTo>
                      <a:lnTo>
                        <a:pt x="122" y="229"/>
                      </a:lnTo>
                      <a:lnTo>
                        <a:pt x="90" y="168"/>
                      </a:lnTo>
                      <a:lnTo>
                        <a:pt x="51" y="155"/>
                      </a:lnTo>
                      <a:lnTo>
                        <a:pt x="32" y="155"/>
                      </a:lnTo>
                      <a:lnTo>
                        <a:pt x="0" y="135"/>
                      </a:lnTo>
                      <a:lnTo>
                        <a:pt x="0" y="94"/>
                      </a:lnTo>
                      <a:lnTo>
                        <a:pt x="51" y="114"/>
                      </a:lnTo>
                      <a:lnTo>
                        <a:pt x="109" y="114"/>
                      </a:lnTo>
                      <a:lnTo>
                        <a:pt x="161" y="74"/>
                      </a:lnTo>
                      <a:lnTo>
                        <a:pt x="199" y="20"/>
                      </a:lnTo>
                      <a:lnTo>
                        <a:pt x="219" y="0"/>
                      </a:lnTo>
                      <a:lnTo>
                        <a:pt x="232" y="0"/>
                      </a:lnTo>
                      <a:lnTo>
                        <a:pt x="232" y="54"/>
                      </a:lnTo>
                      <a:lnTo>
                        <a:pt x="251" y="114"/>
                      </a:lnTo>
                      <a:lnTo>
                        <a:pt x="270" y="155"/>
                      </a:lnTo>
                      <a:lnTo>
                        <a:pt x="290" y="168"/>
                      </a:lnTo>
                      <a:lnTo>
                        <a:pt x="290" y="189"/>
                      </a:lnTo>
                      <a:lnTo>
                        <a:pt x="270" y="209"/>
                      </a:lnTo>
                      <a:lnTo>
                        <a:pt x="232" y="249"/>
                      </a:lnTo>
                      <a:lnTo>
                        <a:pt x="219" y="303"/>
                      </a:lnTo>
                      <a:lnTo>
                        <a:pt x="219" y="32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8" name="Freeform 28"/>
                <p:cNvSpPr>
                  <a:spLocks/>
                </p:cNvSpPr>
                <p:nvPr/>
              </p:nvSpPr>
              <p:spPr bwMode="blackWhite">
                <a:xfrm>
                  <a:off x="430910" y="1679914"/>
                  <a:ext cx="1459446" cy="1213314"/>
                </a:xfrm>
                <a:custGeom>
                  <a:avLst/>
                  <a:gdLst>
                    <a:gd name="T0" fmla="*/ 2147483647 w 964"/>
                    <a:gd name="T1" fmla="*/ 2147483647 h 783"/>
                    <a:gd name="T2" fmla="*/ 2147483647 w 964"/>
                    <a:gd name="T3" fmla="*/ 2147483647 h 783"/>
                    <a:gd name="T4" fmla="*/ 2147483647 w 964"/>
                    <a:gd name="T5" fmla="*/ 2147483647 h 783"/>
                    <a:gd name="T6" fmla="*/ 2147483647 w 964"/>
                    <a:gd name="T7" fmla="*/ 2147483647 h 783"/>
                    <a:gd name="T8" fmla="*/ 2147483647 w 964"/>
                    <a:gd name="T9" fmla="*/ 2147483647 h 783"/>
                    <a:gd name="T10" fmla="*/ 2147483647 w 964"/>
                    <a:gd name="T11" fmla="*/ 2147483647 h 783"/>
                    <a:gd name="T12" fmla="*/ 2147483647 w 964"/>
                    <a:gd name="T13" fmla="*/ 2147483647 h 783"/>
                    <a:gd name="T14" fmla="*/ 2147483647 w 964"/>
                    <a:gd name="T15" fmla="*/ 2147483647 h 783"/>
                    <a:gd name="T16" fmla="*/ 2147483647 w 964"/>
                    <a:gd name="T17" fmla="*/ 2147483647 h 783"/>
                    <a:gd name="T18" fmla="*/ 2147483647 w 964"/>
                    <a:gd name="T19" fmla="*/ 2147483647 h 783"/>
                    <a:gd name="T20" fmla="*/ 2147483647 w 964"/>
                    <a:gd name="T21" fmla="*/ 2147483647 h 783"/>
                    <a:gd name="T22" fmla="*/ 2147483647 w 964"/>
                    <a:gd name="T23" fmla="*/ 2147483647 h 783"/>
                    <a:gd name="T24" fmla="*/ 2147483647 w 964"/>
                    <a:gd name="T25" fmla="*/ 2147483647 h 783"/>
                    <a:gd name="T26" fmla="*/ 2147483647 w 964"/>
                    <a:gd name="T27" fmla="*/ 2147483647 h 783"/>
                    <a:gd name="T28" fmla="*/ 2147483647 w 964"/>
                    <a:gd name="T29" fmla="*/ 2147483647 h 783"/>
                    <a:gd name="T30" fmla="*/ 2147483647 w 964"/>
                    <a:gd name="T31" fmla="*/ 2147483647 h 783"/>
                    <a:gd name="T32" fmla="*/ 2147483647 w 964"/>
                    <a:gd name="T33" fmla="*/ 2147483647 h 783"/>
                    <a:gd name="T34" fmla="*/ 2147483647 w 964"/>
                    <a:gd name="T35" fmla="*/ 2147483647 h 783"/>
                    <a:gd name="T36" fmla="*/ 2147483647 w 964"/>
                    <a:gd name="T37" fmla="*/ 2147483647 h 783"/>
                    <a:gd name="T38" fmla="*/ 2147483647 w 964"/>
                    <a:gd name="T39" fmla="*/ 2147483647 h 783"/>
                    <a:gd name="T40" fmla="*/ 2147483647 w 964"/>
                    <a:gd name="T41" fmla="*/ 2147483647 h 783"/>
                    <a:gd name="T42" fmla="*/ 2147483647 w 964"/>
                    <a:gd name="T43" fmla="*/ 2147483647 h 783"/>
                    <a:gd name="T44" fmla="*/ 2147483647 w 964"/>
                    <a:gd name="T45" fmla="*/ 2147483647 h 783"/>
                    <a:gd name="T46" fmla="*/ 0 w 964"/>
                    <a:gd name="T47" fmla="*/ 2147483647 h 783"/>
                    <a:gd name="T48" fmla="*/ 2147483647 w 964"/>
                    <a:gd name="T49" fmla="*/ 2147483647 h 783"/>
                    <a:gd name="T50" fmla="*/ 2147483647 w 964"/>
                    <a:gd name="T51" fmla="*/ 2147483647 h 783"/>
                    <a:gd name="T52" fmla="*/ 2147483647 w 964"/>
                    <a:gd name="T53" fmla="*/ 2147483647 h 783"/>
                    <a:gd name="T54" fmla="*/ 2147483647 w 964"/>
                    <a:gd name="T55" fmla="*/ 2147483647 h 783"/>
                    <a:gd name="T56" fmla="*/ 2147483647 w 964"/>
                    <a:gd name="T57" fmla="*/ 2147483647 h 783"/>
                    <a:gd name="T58" fmla="*/ 2147483647 w 964"/>
                    <a:gd name="T59" fmla="*/ 2147483647 h 783"/>
                    <a:gd name="T60" fmla="*/ 2147483647 w 964"/>
                    <a:gd name="T61" fmla="*/ 2147483647 h 783"/>
                    <a:gd name="T62" fmla="*/ 2147483647 w 964"/>
                    <a:gd name="T63" fmla="*/ 2147483647 h 783"/>
                    <a:gd name="T64" fmla="*/ 2147483647 w 964"/>
                    <a:gd name="T65" fmla="*/ 2147483647 h 783"/>
                    <a:gd name="T66" fmla="*/ 2147483647 w 964"/>
                    <a:gd name="T67" fmla="*/ 2147483647 h 783"/>
                    <a:gd name="T68" fmla="*/ 2147483647 w 964"/>
                    <a:gd name="T69" fmla="*/ 2147483647 h 783"/>
                    <a:gd name="T70" fmla="*/ 2147483647 w 964"/>
                    <a:gd name="T71" fmla="*/ 2147483647 h 78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64"/>
                    <a:gd name="T109" fmla="*/ 0 h 783"/>
                    <a:gd name="T110" fmla="*/ 964 w 964"/>
                    <a:gd name="T111" fmla="*/ 783 h 78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64" h="783">
                      <a:moveTo>
                        <a:pt x="584" y="0"/>
                      </a:moveTo>
                      <a:lnTo>
                        <a:pt x="603" y="20"/>
                      </a:lnTo>
                      <a:lnTo>
                        <a:pt x="603" y="54"/>
                      </a:lnTo>
                      <a:lnTo>
                        <a:pt x="616" y="94"/>
                      </a:lnTo>
                      <a:lnTo>
                        <a:pt x="616" y="148"/>
                      </a:lnTo>
                      <a:lnTo>
                        <a:pt x="603" y="168"/>
                      </a:lnTo>
                      <a:lnTo>
                        <a:pt x="616" y="189"/>
                      </a:lnTo>
                      <a:lnTo>
                        <a:pt x="655" y="209"/>
                      </a:lnTo>
                      <a:lnTo>
                        <a:pt x="674" y="168"/>
                      </a:lnTo>
                      <a:lnTo>
                        <a:pt x="693" y="168"/>
                      </a:lnTo>
                      <a:lnTo>
                        <a:pt x="713" y="189"/>
                      </a:lnTo>
                      <a:lnTo>
                        <a:pt x="725" y="189"/>
                      </a:lnTo>
                      <a:lnTo>
                        <a:pt x="745" y="168"/>
                      </a:lnTo>
                      <a:lnTo>
                        <a:pt x="745" y="148"/>
                      </a:lnTo>
                      <a:lnTo>
                        <a:pt x="764" y="135"/>
                      </a:lnTo>
                      <a:lnTo>
                        <a:pt x="822" y="135"/>
                      </a:lnTo>
                      <a:lnTo>
                        <a:pt x="854" y="209"/>
                      </a:lnTo>
                      <a:lnTo>
                        <a:pt x="873" y="229"/>
                      </a:lnTo>
                      <a:lnTo>
                        <a:pt x="912" y="229"/>
                      </a:lnTo>
                      <a:lnTo>
                        <a:pt x="950" y="249"/>
                      </a:lnTo>
                      <a:lnTo>
                        <a:pt x="950" y="282"/>
                      </a:lnTo>
                      <a:lnTo>
                        <a:pt x="963" y="303"/>
                      </a:lnTo>
                      <a:lnTo>
                        <a:pt x="893" y="512"/>
                      </a:lnTo>
                      <a:lnTo>
                        <a:pt x="893" y="607"/>
                      </a:lnTo>
                      <a:lnTo>
                        <a:pt x="873" y="647"/>
                      </a:lnTo>
                      <a:lnTo>
                        <a:pt x="873" y="688"/>
                      </a:lnTo>
                      <a:lnTo>
                        <a:pt x="725" y="688"/>
                      </a:lnTo>
                      <a:lnTo>
                        <a:pt x="693" y="688"/>
                      </a:lnTo>
                      <a:lnTo>
                        <a:pt x="674" y="707"/>
                      </a:lnTo>
                      <a:lnTo>
                        <a:pt x="655" y="707"/>
                      </a:lnTo>
                      <a:lnTo>
                        <a:pt x="655" y="667"/>
                      </a:lnTo>
                      <a:lnTo>
                        <a:pt x="635" y="647"/>
                      </a:lnTo>
                      <a:lnTo>
                        <a:pt x="616" y="647"/>
                      </a:lnTo>
                      <a:lnTo>
                        <a:pt x="584" y="627"/>
                      </a:lnTo>
                      <a:lnTo>
                        <a:pt x="545" y="647"/>
                      </a:lnTo>
                      <a:lnTo>
                        <a:pt x="545" y="667"/>
                      </a:lnTo>
                      <a:lnTo>
                        <a:pt x="526" y="688"/>
                      </a:lnTo>
                      <a:lnTo>
                        <a:pt x="494" y="707"/>
                      </a:lnTo>
                      <a:lnTo>
                        <a:pt x="494" y="721"/>
                      </a:lnTo>
                      <a:lnTo>
                        <a:pt x="436" y="741"/>
                      </a:lnTo>
                      <a:lnTo>
                        <a:pt x="397" y="782"/>
                      </a:lnTo>
                      <a:lnTo>
                        <a:pt x="327" y="761"/>
                      </a:lnTo>
                      <a:lnTo>
                        <a:pt x="275" y="721"/>
                      </a:lnTo>
                      <a:lnTo>
                        <a:pt x="199" y="688"/>
                      </a:lnTo>
                      <a:lnTo>
                        <a:pt x="147" y="667"/>
                      </a:lnTo>
                      <a:lnTo>
                        <a:pt x="90" y="667"/>
                      </a:lnTo>
                      <a:lnTo>
                        <a:pt x="38" y="647"/>
                      </a:lnTo>
                      <a:lnTo>
                        <a:pt x="0" y="627"/>
                      </a:lnTo>
                      <a:lnTo>
                        <a:pt x="19" y="593"/>
                      </a:lnTo>
                      <a:lnTo>
                        <a:pt x="38" y="573"/>
                      </a:lnTo>
                      <a:lnTo>
                        <a:pt x="38" y="553"/>
                      </a:lnTo>
                      <a:lnTo>
                        <a:pt x="57" y="512"/>
                      </a:lnTo>
                      <a:lnTo>
                        <a:pt x="90" y="478"/>
                      </a:lnTo>
                      <a:lnTo>
                        <a:pt x="180" y="438"/>
                      </a:lnTo>
                      <a:lnTo>
                        <a:pt x="199" y="438"/>
                      </a:lnTo>
                      <a:lnTo>
                        <a:pt x="217" y="363"/>
                      </a:lnTo>
                      <a:lnTo>
                        <a:pt x="237" y="249"/>
                      </a:lnTo>
                      <a:lnTo>
                        <a:pt x="199" y="209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7" y="114"/>
                      </a:lnTo>
                      <a:lnTo>
                        <a:pt x="237" y="94"/>
                      </a:lnTo>
                      <a:lnTo>
                        <a:pt x="199" y="74"/>
                      </a:lnTo>
                      <a:lnTo>
                        <a:pt x="199" y="54"/>
                      </a:lnTo>
                      <a:lnTo>
                        <a:pt x="288" y="33"/>
                      </a:lnTo>
                      <a:lnTo>
                        <a:pt x="346" y="33"/>
                      </a:lnTo>
                      <a:lnTo>
                        <a:pt x="365" y="54"/>
                      </a:lnTo>
                      <a:lnTo>
                        <a:pt x="385" y="94"/>
                      </a:lnTo>
                      <a:lnTo>
                        <a:pt x="417" y="114"/>
                      </a:lnTo>
                      <a:lnTo>
                        <a:pt x="494" y="94"/>
                      </a:lnTo>
                      <a:lnTo>
                        <a:pt x="526" y="54"/>
                      </a:lnTo>
                      <a:lnTo>
                        <a:pt x="584" y="20"/>
                      </a:lnTo>
                      <a:lnTo>
                        <a:pt x="584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9" name="Freeform 29"/>
                <p:cNvSpPr>
                  <a:spLocks/>
                </p:cNvSpPr>
                <p:nvPr/>
              </p:nvSpPr>
              <p:spPr bwMode="blackWhite">
                <a:xfrm>
                  <a:off x="2357681" y="1856652"/>
                  <a:ext cx="243964" cy="178907"/>
                </a:xfrm>
                <a:custGeom>
                  <a:avLst/>
                  <a:gdLst>
                    <a:gd name="T0" fmla="*/ 2147483647 w 162"/>
                    <a:gd name="T1" fmla="*/ 2147483647 h 116"/>
                    <a:gd name="T2" fmla="*/ 2147483647 w 162"/>
                    <a:gd name="T3" fmla="*/ 2147483647 h 116"/>
                    <a:gd name="T4" fmla="*/ 2147483647 w 162"/>
                    <a:gd name="T5" fmla="*/ 2147483647 h 116"/>
                    <a:gd name="T6" fmla="*/ 2147483647 w 162"/>
                    <a:gd name="T7" fmla="*/ 2147483647 h 116"/>
                    <a:gd name="T8" fmla="*/ 2147483647 w 162"/>
                    <a:gd name="T9" fmla="*/ 2147483647 h 116"/>
                    <a:gd name="T10" fmla="*/ 0 w 162"/>
                    <a:gd name="T11" fmla="*/ 2147483647 h 116"/>
                    <a:gd name="T12" fmla="*/ 2147483647 w 162"/>
                    <a:gd name="T13" fmla="*/ 2147483647 h 116"/>
                    <a:gd name="T14" fmla="*/ 2147483647 w 162"/>
                    <a:gd name="T15" fmla="*/ 0 h 116"/>
                    <a:gd name="T16" fmla="*/ 2147483647 w 162"/>
                    <a:gd name="T17" fmla="*/ 0 h 116"/>
                    <a:gd name="T18" fmla="*/ 2147483647 w 162"/>
                    <a:gd name="T19" fmla="*/ 2147483647 h 116"/>
                    <a:gd name="T20" fmla="*/ 2147483647 w 162"/>
                    <a:gd name="T21" fmla="*/ 0 h 116"/>
                    <a:gd name="T22" fmla="*/ 2147483647 w 162"/>
                    <a:gd name="T23" fmla="*/ 2147483647 h 11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2"/>
                    <a:gd name="T37" fmla="*/ 0 h 116"/>
                    <a:gd name="T38" fmla="*/ 162 w 162"/>
                    <a:gd name="T39" fmla="*/ 116 h 11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2" h="116">
                      <a:moveTo>
                        <a:pt x="161" y="20"/>
                      </a:moveTo>
                      <a:lnTo>
                        <a:pt x="148" y="60"/>
                      </a:lnTo>
                      <a:lnTo>
                        <a:pt x="109" y="94"/>
                      </a:lnTo>
                      <a:lnTo>
                        <a:pt x="70" y="115"/>
                      </a:lnTo>
                      <a:lnTo>
                        <a:pt x="38" y="94"/>
                      </a:lnTo>
                      <a:lnTo>
                        <a:pt x="0" y="81"/>
                      </a:lnTo>
                      <a:lnTo>
                        <a:pt x="19" y="20"/>
                      </a:lnTo>
                      <a:lnTo>
                        <a:pt x="51" y="0"/>
                      </a:lnTo>
                      <a:lnTo>
                        <a:pt x="70" y="0"/>
                      </a:lnTo>
                      <a:lnTo>
                        <a:pt x="109" y="20"/>
                      </a:lnTo>
                      <a:lnTo>
                        <a:pt x="148" y="0"/>
                      </a:lnTo>
                      <a:lnTo>
                        <a:pt x="161" y="20"/>
                      </a:lnTo>
                    </a:path>
                  </a:pathLst>
                </a:custGeom>
                <a:solidFill>
                  <a:schemeClr val="accent5"/>
                </a:solidFill>
                <a:ln w="190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0" name="Freeform 30"/>
                <p:cNvSpPr>
                  <a:spLocks/>
                </p:cNvSpPr>
                <p:nvPr/>
              </p:nvSpPr>
              <p:spPr bwMode="blackWhite">
                <a:xfrm>
                  <a:off x="1957582" y="4450260"/>
                  <a:ext cx="574670" cy="659245"/>
                </a:xfrm>
                <a:custGeom>
                  <a:avLst/>
                  <a:gdLst>
                    <a:gd name="T0" fmla="*/ 2147483647 w 380"/>
                    <a:gd name="T1" fmla="*/ 2147483647 h 426"/>
                    <a:gd name="T2" fmla="*/ 2147483647 w 380"/>
                    <a:gd name="T3" fmla="*/ 2147483647 h 426"/>
                    <a:gd name="T4" fmla="*/ 2147483647 w 380"/>
                    <a:gd name="T5" fmla="*/ 2147483647 h 426"/>
                    <a:gd name="T6" fmla="*/ 2147483647 w 380"/>
                    <a:gd name="T7" fmla="*/ 2147483647 h 426"/>
                    <a:gd name="T8" fmla="*/ 2147483647 w 380"/>
                    <a:gd name="T9" fmla="*/ 2147483647 h 426"/>
                    <a:gd name="T10" fmla="*/ 2147483647 w 380"/>
                    <a:gd name="T11" fmla="*/ 2147483647 h 426"/>
                    <a:gd name="T12" fmla="*/ 2147483647 w 380"/>
                    <a:gd name="T13" fmla="*/ 2147483647 h 426"/>
                    <a:gd name="T14" fmla="*/ 2147483647 w 380"/>
                    <a:gd name="T15" fmla="*/ 2147483647 h 426"/>
                    <a:gd name="T16" fmla="*/ 2147483647 w 380"/>
                    <a:gd name="T17" fmla="*/ 2147483647 h 426"/>
                    <a:gd name="T18" fmla="*/ 2147483647 w 380"/>
                    <a:gd name="T19" fmla="*/ 2147483647 h 426"/>
                    <a:gd name="T20" fmla="*/ 2147483647 w 380"/>
                    <a:gd name="T21" fmla="*/ 2147483647 h 426"/>
                    <a:gd name="T22" fmla="*/ 2147483647 w 380"/>
                    <a:gd name="T23" fmla="*/ 2147483647 h 426"/>
                    <a:gd name="T24" fmla="*/ 2147483647 w 380"/>
                    <a:gd name="T25" fmla="*/ 0 h 426"/>
                    <a:gd name="T26" fmla="*/ 2147483647 w 380"/>
                    <a:gd name="T27" fmla="*/ 0 h 426"/>
                    <a:gd name="T28" fmla="*/ 2147483647 w 380"/>
                    <a:gd name="T29" fmla="*/ 2147483647 h 426"/>
                    <a:gd name="T30" fmla="*/ 0 w 380"/>
                    <a:gd name="T31" fmla="*/ 2147483647 h 426"/>
                    <a:gd name="T32" fmla="*/ 0 w 380"/>
                    <a:gd name="T33" fmla="*/ 2147483647 h 426"/>
                    <a:gd name="T34" fmla="*/ 2147483647 w 380"/>
                    <a:gd name="T35" fmla="*/ 2147483647 h 426"/>
                    <a:gd name="T36" fmla="*/ 2147483647 w 380"/>
                    <a:gd name="T37" fmla="*/ 2147483647 h 426"/>
                    <a:gd name="T38" fmla="*/ 2147483647 w 380"/>
                    <a:gd name="T39" fmla="*/ 2147483647 h 426"/>
                    <a:gd name="T40" fmla="*/ 2147483647 w 380"/>
                    <a:gd name="T41" fmla="*/ 2147483647 h 426"/>
                    <a:gd name="T42" fmla="*/ 2147483647 w 380"/>
                    <a:gd name="T43" fmla="*/ 2147483647 h 426"/>
                    <a:gd name="T44" fmla="*/ 2147483647 w 380"/>
                    <a:gd name="T45" fmla="*/ 2147483647 h 426"/>
                    <a:gd name="T46" fmla="*/ 2147483647 w 380"/>
                    <a:gd name="T47" fmla="*/ 2147483647 h 426"/>
                    <a:gd name="T48" fmla="*/ 2147483647 w 380"/>
                    <a:gd name="T49" fmla="*/ 2147483647 h 42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80"/>
                    <a:gd name="T76" fmla="*/ 0 h 426"/>
                    <a:gd name="T77" fmla="*/ 380 w 380"/>
                    <a:gd name="T78" fmla="*/ 426 h 42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80" h="426">
                      <a:moveTo>
                        <a:pt x="199" y="425"/>
                      </a:moveTo>
                      <a:lnTo>
                        <a:pt x="237" y="404"/>
                      </a:lnTo>
                      <a:lnTo>
                        <a:pt x="269" y="323"/>
                      </a:lnTo>
                      <a:lnTo>
                        <a:pt x="308" y="289"/>
                      </a:lnTo>
                      <a:lnTo>
                        <a:pt x="346" y="196"/>
                      </a:lnTo>
                      <a:lnTo>
                        <a:pt x="379" y="135"/>
                      </a:lnTo>
                      <a:lnTo>
                        <a:pt x="366" y="114"/>
                      </a:lnTo>
                      <a:lnTo>
                        <a:pt x="366" y="81"/>
                      </a:lnTo>
                      <a:lnTo>
                        <a:pt x="346" y="81"/>
                      </a:lnTo>
                      <a:lnTo>
                        <a:pt x="327" y="60"/>
                      </a:lnTo>
                      <a:lnTo>
                        <a:pt x="289" y="40"/>
                      </a:lnTo>
                      <a:lnTo>
                        <a:pt x="269" y="20"/>
                      </a:lnTo>
                      <a:lnTo>
                        <a:pt x="218" y="0"/>
                      </a:lnTo>
                      <a:lnTo>
                        <a:pt x="160" y="0"/>
                      </a:lnTo>
                      <a:lnTo>
                        <a:pt x="109" y="40"/>
                      </a:lnTo>
                      <a:lnTo>
                        <a:pt x="0" y="209"/>
                      </a:lnTo>
                      <a:lnTo>
                        <a:pt x="0" y="228"/>
                      </a:lnTo>
                      <a:lnTo>
                        <a:pt x="38" y="228"/>
                      </a:lnTo>
                      <a:lnTo>
                        <a:pt x="109" y="269"/>
                      </a:lnTo>
                      <a:lnTo>
                        <a:pt x="128" y="269"/>
                      </a:lnTo>
                      <a:lnTo>
                        <a:pt x="199" y="343"/>
                      </a:lnTo>
                      <a:lnTo>
                        <a:pt x="218" y="323"/>
                      </a:lnTo>
                      <a:lnTo>
                        <a:pt x="218" y="364"/>
                      </a:lnTo>
                      <a:lnTo>
                        <a:pt x="199" y="384"/>
                      </a:lnTo>
                      <a:lnTo>
                        <a:pt x="199" y="425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1" name="Freeform 22"/>
                <p:cNvSpPr>
                  <a:spLocks/>
                </p:cNvSpPr>
                <p:nvPr/>
              </p:nvSpPr>
              <p:spPr bwMode="blackWhite">
                <a:xfrm>
                  <a:off x="1504352" y="2562522"/>
                  <a:ext cx="931400" cy="1034407"/>
                </a:xfrm>
                <a:custGeom>
                  <a:avLst/>
                  <a:gdLst>
                    <a:gd name="T0" fmla="*/ 2147483647 w 617"/>
                    <a:gd name="T1" fmla="*/ 2147483647 h 668"/>
                    <a:gd name="T2" fmla="*/ 2147483647 w 617"/>
                    <a:gd name="T3" fmla="*/ 2147483647 h 668"/>
                    <a:gd name="T4" fmla="*/ 2147483647 w 617"/>
                    <a:gd name="T5" fmla="*/ 2147483647 h 668"/>
                    <a:gd name="T6" fmla="*/ 2147483647 w 617"/>
                    <a:gd name="T7" fmla="*/ 2147483647 h 668"/>
                    <a:gd name="T8" fmla="*/ 2147483647 w 617"/>
                    <a:gd name="T9" fmla="*/ 2147483647 h 668"/>
                    <a:gd name="T10" fmla="*/ 2147483647 w 617"/>
                    <a:gd name="T11" fmla="*/ 0 h 668"/>
                    <a:gd name="T12" fmla="*/ 2147483647 w 617"/>
                    <a:gd name="T13" fmla="*/ 2147483647 h 668"/>
                    <a:gd name="T14" fmla="*/ 2147483647 w 617"/>
                    <a:gd name="T15" fmla="*/ 2147483647 h 668"/>
                    <a:gd name="T16" fmla="*/ 2147483647 w 617"/>
                    <a:gd name="T17" fmla="*/ 2147483647 h 668"/>
                    <a:gd name="T18" fmla="*/ 2147483647 w 617"/>
                    <a:gd name="T19" fmla="*/ 2147483647 h 668"/>
                    <a:gd name="T20" fmla="*/ 0 w 617"/>
                    <a:gd name="T21" fmla="*/ 2147483647 h 668"/>
                    <a:gd name="T22" fmla="*/ 0 w 617"/>
                    <a:gd name="T23" fmla="*/ 2147483647 h 668"/>
                    <a:gd name="T24" fmla="*/ 2147483647 w 617"/>
                    <a:gd name="T25" fmla="*/ 2147483647 h 668"/>
                    <a:gd name="T26" fmla="*/ 2147483647 w 617"/>
                    <a:gd name="T27" fmla="*/ 2147483647 h 668"/>
                    <a:gd name="T28" fmla="*/ 2147483647 w 617"/>
                    <a:gd name="T29" fmla="*/ 2147483647 h 668"/>
                    <a:gd name="T30" fmla="*/ 2147483647 w 617"/>
                    <a:gd name="T31" fmla="*/ 2147483647 h 668"/>
                    <a:gd name="T32" fmla="*/ 2147483647 w 617"/>
                    <a:gd name="T33" fmla="*/ 2147483647 h 668"/>
                    <a:gd name="T34" fmla="*/ 2147483647 w 617"/>
                    <a:gd name="T35" fmla="*/ 2147483647 h 668"/>
                    <a:gd name="T36" fmla="*/ 2147483647 w 617"/>
                    <a:gd name="T37" fmla="*/ 2147483647 h 668"/>
                    <a:gd name="T38" fmla="*/ 2147483647 w 617"/>
                    <a:gd name="T39" fmla="*/ 2147483647 h 668"/>
                    <a:gd name="T40" fmla="*/ 2147483647 w 617"/>
                    <a:gd name="T41" fmla="*/ 2147483647 h 668"/>
                    <a:gd name="T42" fmla="*/ 2147483647 w 617"/>
                    <a:gd name="T43" fmla="*/ 2147483647 h 668"/>
                    <a:gd name="T44" fmla="*/ 2147483647 w 617"/>
                    <a:gd name="T45" fmla="*/ 2147483647 h 668"/>
                    <a:gd name="T46" fmla="*/ 2147483647 w 617"/>
                    <a:gd name="T47" fmla="*/ 2147483647 h 668"/>
                    <a:gd name="T48" fmla="*/ 2147483647 w 617"/>
                    <a:gd name="T49" fmla="*/ 2147483647 h 668"/>
                    <a:gd name="T50" fmla="*/ 2147483647 w 617"/>
                    <a:gd name="T51" fmla="*/ 2147483647 h 668"/>
                    <a:gd name="T52" fmla="*/ 2147483647 w 617"/>
                    <a:gd name="T53" fmla="*/ 2147483647 h 668"/>
                    <a:gd name="T54" fmla="*/ 2147483647 w 617"/>
                    <a:gd name="T55" fmla="*/ 2147483647 h 668"/>
                    <a:gd name="T56" fmla="*/ 2147483647 w 617"/>
                    <a:gd name="T57" fmla="*/ 2147483647 h 668"/>
                    <a:gd name="T58" fmla="*/ 2147483647 w 617"/>
                    <a:gd name="T59" fmla="*/ 2147483647 h 668"/>
                    <a:gd name="T60" fmla="*/ 2147483647 w 617"/>
                    <a:gd name="T61" fmla="*/ 2147483647 h 668"/>
                    <a:gd name="T62" fmla="*/ 2147483647 w 617"/>
                    <a:gd name="T63" fmla="*/ 2147483647 h 668"/>
                    <a:gd name="T64" fmla="*/ 2147483647 w 617"/>
                    <a:gd name="T65" fmla="*/ 2147483647 h 668"/>
                    <a:gd name="T66" fmla="*/ 2147483647 w 617"/>
                    <a:gd name="T67" fmla="*/ 2147483647 h 668"/>
                    <a:gd name="T68" fmla="*/ 2147483647 w 617"/>
                    <a:gd name="T69" fmla="*/ 2147483647 h 668"/>
                    <a:gd name="T70" fmla="*/ 2147483647 w 617"/>
                    <a:gd name="T71" fmla="*/ 2147483647 h 668"/>
                    <a:gd name="T72" fmla="*/ 2147483647 w 617"/>
                    <a:gd name="T73" fmla="*/ 2147483647 h 668"/>
                    <a:gd name="T74" fmla="*/ 2147483647 w 617"/>
                    <a:gd name="T75" fmla="*/ 2147483647 h 668"/>
                    <a:gd name="T76" fmla="*/ 2147483647 w 617"/>
                    <a:gd name="T77" fmla="*/ 2147483647 h 668"/>
                    <a:gd name="T78" fmla="*/ 2147483647 w 617"/>
                    <a:gd name="T79" fmla="*/ 2147483647 h 668"/>
                    <a:gd name="T80" fmla="*/ 2147483647 w 617"/>
                    <a:gd name="T81" fmla="*/ 2147483647 h 668"/>
                    <a:gd name="T82" fmla="*/ 2147483647 w 617"/>
                    <a:gd name="T83" fmla="*/ 2147483647 h 668"/>
                    <a:gd name="T84" fmla="*/ 2147483647 w 617"/>
                    <a:gd name="T85" fmla="*/ 2147483647 h 668"/>
                    <a:gd name="T86" fmla="*/ 2147483647 w 617"/>
                    <a:gd name="T87" fmla="*/ 2147483647 h 66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17"/>
                    <a:gd name="T133" fmla="*/ 0 h 668"/>
                    <a:gd name="T134" fmla="*/ 617 w 617"/>
                    <a:gd name="T135" fmla="*/ 668 h 66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17" h="668">
                      <a:moveTo>
                        <a:pt x="616" y="147"/>
                      </a:moveTo>
                      <a:lnTo>
                        <a:pt x="288" y="134"/>
                      </a:lnTo>
                      <a:lnTo>
                        <a:pt x="249" y="114"/>
                      </a:lnTo>
                      <a:lnTo>
                        <a:pt x="237" y="94"/>
                      </a:lnTo>
                      <a:lnTo>
                        <a:pt x="218" y="54"/>
                      </a:lnTo>
                      <a:lnTo>
                        <a:pt x="179" y="0"/>
                      </a:lnTo>
                      <a:lnTo>
                        <a:pt x="179" y="33"/>
                      </a:lnTo>
                      <a:lnTo>
                        <a:pt x="160" y="74"/>
                      </a:lnTo>
                      <a:lnTo>
                        <a:pt x="160" y="114"/>
                      </a:lnTo>
                      <a:lnTo>
                        <a:pt x="12" y="114"/>
                      </a:lnTo>
                      <a:lnTo>
                        <a:pt x="0" y="147"/>
                      </a:lnTo>
                      <a:lnTo>
                        <a:pt x="0" y="249"/>
                      </a:lnTo>
                      <a:lnTo>
                        <a:pt x="89" y="262"/>
                      </a:lnTo>
                      <a:lnTo>
                        <a:pt x="89" y="343"/>
                      </a:lnTo>
                      <a:lnTo>
                        <a:pt x="51" y="417"/>
                      </a:lnTo>
                      <a:lnTo>
                        <a:pt x="70" y="478"/>
                      </a:lnTo>
                      <a:lnTo>
                        <a:pt x="51" y="498"/>
                      </a:lnTo>
                      <a:lnTo>
                        <a:pt x="70" y="532"/>
                      </a:lnTo>
                      <a:lnTo>
                        <a:pt x="70" y="572"/>
                      </a:lnTo>
                      <a:lnTo>
                        <a:pt x="160" y="592"/>
                      </a:lnTo>
                      <a:lnTo>
                        <a:pt x="199" y="592"/>
                      </a:lnTo>
                      <a:lnTo>
                        <a:pt x="199" y="612"/>
                      </a:lnTo>
                      <a:lnTo>
                        <a:pt x="218" y="646"/>
                      </a:lnTo>
                      <a:lnTo>
                        <a:pt x="249" y="667"/>
                      </a:lnTo>
                      <a:lnTo>
                        <a:pt x="249" y="646"/>
                      </a:lnTo>
                      <a:lnTo>
                        <a:pt x="269" y="626"/>
                      </a:lnTo>
                      <a:lnTo>
                        <a:pt x="307" y="626"/>
                      </a:lnTo>
                      <a:lnTo>
                        <a:pt x="358" y="646"/>
                      </a:lnTo>
                      <a:lnTo>
                        <a:pt x="397" y="626"/>
                      </a:lnTo>
                      <a:lnTo>
                        <a:pt x="416" y="612"/>
                      </a:lnTo>
                      <a:lnTo>
                        <a:pt x="436" y="612"/>
                      </a:lnTo>
                      <a:lnTo>
                        <a:pt x="455" y="626"/>
                      </a:lnTo>
                      <a:lnTo>
                        <a:pt x="468" y="626"/>
                      </a:lnTo>
                      <a:lnTo>
                        <a:pt x="468" y="612"/>
                      </a:lnTo>
                      <a:lnTo>
                        <a:pt x="487" y="553"/>
                      </a:lnTo>
                      <a:lnTo>
                        <a:pt x="526" y="512"/>
                      </a:lnTo>
                      <a:lnTo>
                        <a:pt x="545" y="478"/>
                      </a:lnTo>
                      <a:lnTo>
                        <a:pt x="577" y="458"/>
                      </a:lnTo>
                      <a:lnTo>
                        <a:pt x="596" y="417"/>
                      </a:lnTo>
                      <a:lnTo>
                        <a:pt x="596" y="377"/>
                      </a:lnTo>
                      <a:lnTo>
                        <a:pt x="616" y="323"/>
                      </a:lnTo>
                      <a:lnTo>
                        <a:pt x="596" y="262"/>
                      </a:lnTo>
                      <a:lnTo>
                        <a:pt x="596" y="208"/>
                      </a:lnTo>
                      <a:lnTo>
                        <a:pt x="616" y="147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194" name="Elipse 193"/>
              <p:cNvSpPr/>
              <p:nvPr/>
            </p:nvSpPr>
            <p:spPr>
              <a:xfrm>
                <a:off x="2849020" y="2219210"/>
                <a:ext cx="733744" cy="6580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NE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431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5" name="Elipse 194"/>
              <p:cNvSpPr/>
              <p:nvPr/>
            </p:nvSpPr>
            <p:spPr>
              <a:xfrm>
                <a:off x="1240101" y="1856652"/>
                <a:ext cx="871448" cy="78069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NO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477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6" name="Elipse 195"/>
              <p:cNvSpPr/>
              <p:nvPr/>
            </p:nvSpPr>
            <p:spPr>
              <a:xfrm>
                <a:off x="2474504" y="3340630"/>
                <a:ext cx="671734" cy="60429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SE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365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Elipse 196"/>
              <p:cNvSpPr/>
              <p:nvPr/>
            </p:nvSpPr>
            <p:spPr>
              <a:xfrm>
                <a:off x="1675544" y="2830340"/>
                <a:ext cx="732337" cy="6983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CO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392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Elipse 197"/>
              <p:cNvSpPr/>
              <p:nvPr/>
            </p:nvSpPr>
            <p:spPr>
              <a:xfrm>
                <a:off x="2032116" y="4136574"/>
                <a:ext cx="666032" cy="52928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S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316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2" name="Freeform 27"/>
            <p:cNvSpPr>
              <a:spLocks/>
            </p:cNvSpPr>
            <p:nvPr/>
          </p:nvSpPr>
          <p:spPr bwMode="blackWhite">
            <a:xfrm>
              <a:off x="1181007" y="1686319"/>
              <a:ext cx="497115" cy="651181"/>
            </a:xfrm>
            <a:custGeom>
              <a:avLst/>
              <a:gdLst>
                <a:gd name="T0" fmla="*/ 2147483647 w 329"/>
                <a:gd name="T1" fmla="*/ 2147483647 h 419"/>
                <a:gd name="T2" fmla="*/ 2147483647 w 329"/>
                <a:gd name="T3" fmla="*/ 2147483647 h 419"/>
                <a:gd name="T4" fmla="*/ 2147483647 w 329"/>
                <a:gd name="T5" fmla="*/ 2147483647 h 419"/>
                <a:gd name="T6" fmla="*/ 2147483647 w 329"/>
                <a:gd name="T7" fmla="*/ 2147483647 h 419"/>
                <a:gd name="T8" fmla="*/ 2147483647 w 329"/>
                <a:gd name="T9" fmla="*/ 2147483647 h 419"/>
                <a:gd name="T10" fmla="*/ 2147483647 w 329"/>
                <a:gd name="T11" fmla="*/ 2147483647 h 419"/>
                <a:gd name="T12" fmla="*/ 2147483647 w 329"/>
                <a:gd name="T13" fmla="*/ 2147483647 h 419"/>
                <a:gd name="T14" fmla="*/ 2147483647 w 329"/>
                <a:gd name="T15" fmla="*/ 2147483647 h 419"/>
                <a:gd name="T16" fmla="*/ 2147483647 w 329"/>
                <a:gd name="T17" fmla="*/ 2147483647 h 419"/>
                <a:gd name="T18" fmla="*/ 2147483647 w 329"/>
                <a:gd name="T19" fmla="*/ 2147483647 h 419"/>
                <a:gd name="T20" fmla="*/ 2147483647 w 329"/>
                <a:gd name="T21" fmla="*/ 2147483647 h 419"/>
                <a:gd name="T22" fmla="*/ 2147483647 w 329"/>
                <a:gd name="T23" fmla="*/ 2147483647 h 419"/>
                <a:gd name="T24" fmla="*/ 2147483647 w 329"/>
                <a:gd name="T25" fmla="*/ 2147483647 h 419"/>
                <a:gd name="T26" fmla="*/ 2147483647 w 329"/>
                <a:gd name="T27" fmla="*/ 2147483647 h 419"/>
                <a:gd name="T28" fmla="*/ 2147483647 w 329"/>
                <a:gd name="T29" fmla="*/ 2147483647 h 419"/>
                <a:gd name="T30" fmla="*/ 2147483647 w 329"/>
                <a:gd name="T31" fmla="*/ 2147483647 h 419"/>
                <a:gd name="T32" fmla="*/ 2147483647 w 329"/>
                <a:gd name="T33" fmla="*/ 2147483647 h 419"/>
                <a:gd name="T34" fmla="*/ 2147483647 w 329"/>
                <a:gd name="T35" fmla="*/ 2147483647 h 419"/>
                <a:gd name="T36" fmla="*/ 2147483647 w 329"/>
                <a:gd name="T37" fmla="*/ 2147483647 h 419"/>
                <a:gd name="T38" fmla="*/ 0 w 329"/>
                <a:gd name="T39" fmla="*/ 2147483647 h 419"/>
                <a:gd name="T40" fmla="*/ 2147483647 w 329"/>
                <a:gd name="T41" fmla="*/ 2147483647 h 419"/>
                <a:gd name="T42" fmla="*/ 2147483647 w 329"/>
                <a:gd name="T43" fmla="*/ 2147483647 h 419"/>
                <a:gd name="T44" fmla="*/ 2147483647 w 329"/>
                <a:gd name="T45" fmla="*/ 2147483647 h 419"/>
                <a:gd name="T46" fmla="*/ 2147483647 w 329"/>
                <a:gd name="T47" fmla="*/ 2147483647 h 419"/>
                <a:gd name="T48" fmla="*/ 2147483647 w 329"/>
                <a:gd name="T49" fmla="*/ 2147483647 h 419"/>
                <a:gd name="T50" fmla="*/ 2147483647 w 329"/>
                <a:gd name="T51" fmla="*/ 2147483647 h 419"/>
                <a:gd name="T52" fmla="*/ 2147483647 w 329"/>
                <a:gd name="T53" fmla="*/ 0 h 419"/>
                <a:gd name="T54" fmla="*/ 2147483647 w 329"/>
                <a:gd name="T55" fmla="*/ 2147483647 h 419"/>
                <a:gd name="T56" fmla="*/ 2147483647 w 329"/>
                <a:gd name="T57" fmla="*/ 2147483647 h 419"/>
                <a:gd name="T58" fmla="*/ 2147483647 w 329"/>
                <a:gd name="T59" fmla="*/ 2147483647 h 419"/>
                <a:gd name="T60" fmla="*/ 2147483647 w 329"/>
                <a:gd name="T61" fmla="*/ 2147483647 h 419"/>
                <a:gd name="T62" fmla="*/ 2147483647 w 329"/>
                <a:gd name="T63" fmla="*/ 2147483647 h 419"/>
                <a:gd name="T64" fmla="*/ 2147483647 w 329"/>
                <a:gd name="T65" fmla="*/ 2147483647 h 419"/>
                <a:gd name="T66" fmla="*/ 2147483647 w 329"/>
                <a:gd name="T67" fmla="*/ 2147483647 h 419"/>
                <a:gd name="T68" fmla="*/ 2147483647 w 329"/>
                <a:gd name="T69" fmla="*/ 2147483647 h 419"/>
                <a:gd name="T70" fmla="*/ 2147483647 w 329"/>
                <a:gd name="T71" fmla="*/ 2147483647 h 4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9"/>
                <a:gd name="T109" fmla="*/ 0 h 419"/>
                <a:gd name="T110" fmla="*/ 329 w 329"/>
                <a:gd name="T111" fmla="*/ 419 h 4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9" h="419">
                  <a:moveTo>
                    <a:pt x="328" y="343"/>
                  </a:moveTo>
                  <a:lnTo>
                    <a:pt x="270" y="343"/>
                  </a:lnTo>
                  <a:lnTo>
                    <a:pt x="250" y="357"/>
                  </a:lnTo>
                  <a:lnTo>
                    <a:pt x="250" y="377"/>
                  </a:lnTo>
                  <a:lnTo>
                    <a:pt x="231" y="397"/>
                  </a:lnTo>
                  <a:lnTo>
                    <a:pt x="218" y="397"/>
                  </a:lnTo>
                  <a:lnTo>
                    <a:pt x="199" y="377"/>
                  </a:lnTo>
                  <a:lnTo>
                    <a:pt x="180" y="377"/>
                  </a:lnTo>
                  <a:lnTo>
                    <a:pt x="160" y="418"/>
                  </a:lnTo>
                  <a:lnTo>
                    <a:pt x="122" y="397"/>
                  </a:lnTo>
                  <a:lnTo>
                    <a:pt x="109" y="377"/>
                  </a:lnTo>
                  <a:lnTo>
                    <a:pt x="122" y="357"/>
                  </a:lnTo>
                  <a:lnTo>
                    <a:pt x="122" y="303"/>
                  </a:lnTo>
                  <a:lnTo>
                    <a:pt x="109" y="262"/>
                  </a:lnTo>
                  <a:lnTo>
                    <a:pt x="109" y="228"/>
                  </a:lnTo>
                  <a:lnTo>
                    <a:pt x="90" y="208"/>
                  </a:lnTo>
                  <a:lnTo>
                    <a:pt x="51" y="188"/>
                  </a:lnTo>
                  <a:lnTo>
                    <a:pt x="32" y="147"/>
                  </a:lnTo>
                  <a:lnTo>
                    <a:pt x="32" y="114"/>
                  </a:lnTo>
                  <a:lnTo>
                    <a:pt x="0" y="93"/>
                  </a:lnTo>
                  <a:lnTo>
                    <a:pt x="12" y="73"/>
                  </a:lnTo>
                  <a:lnTo>
                    <a:pt x="90" y="93"/>
                  </a:lnTo>
                  <a:lnTo>
                    <a:pt x="109" y="93"/>
                  </a:lnTo>
                  <a:lnTo>
                    <a:pt x="122" y="114"/>
                  </a:lnTo>
                  <a:lnTo>
                    <a:pt x="141" y="73"/>
                  </a:lnTo>
                  <a:lnTo>
                    <a:pt x="218" y="32"/>
                  </a:lnTo>
                  <a:lnTo>
                    <a:pt x="218" y="0"/>
                  </a:lnTo>
                  <a:lnTo>
                    <a:pt x="250" y="13"/>
                  </a:lnTo>
                  <a:lnTo>
                    <a:pt x="250" y="53"/>
                  </a:lnTo>
                  <a:lnTo>
                    <a:pt x="270" y="53"/>
                  </a:lnTo>
                  <a:lnTo>
                    <a:pt x="289" y="93"/>
                  </a:lnTo>
                  <a:lnTo>
                    <a:pt x="270" y="147"/>
                  </a:lnTo>
                  <a:lnTo>
                    <a:pt x="289" y="228"/>
                  </a:lnTo>
                  <a:lnTo>
                    <a:pt x="308" y="242"/>
                  </a:lnTo>
                  <a:lnTo>
                    <a:pt x="328" y="303"/>
                  </a:lnTo>
                  <a:lnTo>
                    <a:pt x="328" y="343"/>
                  </a:lnTo>
                </a:path>
              </a:pathLst>
            </a:custGeom>
            <a:solidFill>
              <a:schemeClr val="accent5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>
              <a:innerShdw blurRad="495300">
                <a:prstClr val="black">
                  <a:alpha val="37000"/>
                </a:prstClr>
              </a:innerShdw>
            </a:effectLst>
          </p:spPr>
          <p:txBody>
            <a:bodyPr/>
            <a:lstStyle/>
            <a:p>
              <a:endParaRPr lang="pt-BR" sz="1600" kern="0" dirty="0">
                <a:solidFill>
                  <a:sysClr val="window" lastClr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76" name="Agrupar 275"/>
          <p:cNvGrpSpPr/>
          <p:nvPr/>
        </p:nvGrpSpPr>
        <p:grpSpPr>
          <a:xfrm>
            <a:off x="4393809" y="1232235"/>
            <a:ext cx="3393808" cy="3753553"/>
            <a:chOff x="4393809" y="1690530"/>
            <a:chExt cx="3393808" cy="3753553"/>
          </a:xfrm>
        </p:grpSpPr>
        <p:grpSp>
          <p:nvGrpSpPr>
            <p:cNvPr id="202" name="Agrupar 201"/>
            <p:cNvGrpSpPr/>
            <p:nvPr/>
          </p:nvGrpSpPr>
          <p:grpSpPr>
            <a:xfrm>
              <a:off x="4393809" y="1824743"/>
              <a:ext cx="3393808" cy="3619340"/>
              <a:chOff x="430910" y="1490165"/>
              <a:chExt cx="3393808" cy="3619340"/>
            </a:xfrm>
          </p:grpSpPr>
          <p:grpSp>
            <p:nvGrpSpPr>
              <p:cNvPr id="203" name="Agrupar 202"/>
              <p:cNvGrpSpPr/>
              <p:nvPr/>
            </p:nvGrpSpPr>
            <p:grpSpPr>
              <a:xfrm>
                <a:off x="430910" y="1490165"/>
                <a:ext cx="3393808" cy="3619340"/>
                <a:chOff x="430910" y="1490165"/>
                <a:chExt cx="3393808" cy="3619340"/>
              </a:xfrm>
            </p:grpSpPr>
            <p:sp>
              <p:nvSpPr>
                <p:cNvPr id="209" name="Freeform 65"/>
                <p:cNvSpPr>
                  <a:spLocks/>
                </p:cNvSpPr>
                <p:nvPr/>
              </p:nvSpPr>
              <p:spPr bwMode="blackWhite">
                <a:xfrm>
                  <a:off x="3217519" y="2133144"/>
                  <a:ext cx="389258" cy="447810"/>
                </a:xfrm>
                <a:custGeom>
                  <a:avLst/>
                  <a:gdLst>
                    <a:gd name="T0" fmla="*/ 2147483647 w 258"/>
                    <a:gd name="T1" fmla="*/ 2147483647 h 291"/>
                    <a:gd name="T2" fmla="*/ 2147483647 w 258"/>
                    <a:gd name="T3" fmla="*/ 2147483647 h 291"/>
                    <a:gd name="T4" fmla="*/ 2147483647 w 258"/>
                    <a:gd name="T5" fmla="*/ 2147483647 h 291"/>
                    <a:gd name="T6" fmla="*/ 2147483647 w 258"/>
                    <a:gd name="T7" fmla="*/ 2147483647 h 291"/>
                    <a:gd name="T8" fmla="*/ 2147483647 w 258"/>
                    <a:gd name="T9" fmla="*/ 0 h 291"/>
                    <a:gd name="T10" fmla="*/ 0 w 258"/>
                    <a:gd name="T11" fmla="*/ 0 h 291"/>
                    <a:gd name="T12" fmla="*/ 0 w 258"/>
                    <a:gd name="T13" fmla="*/ 2147483647 h 291"/>
                    <a:gd name="T14" fmla="*/ 0 w 258"/>
                    <a:gd name="T15" fmla="*/ 2147483647 h 291"/>
                    <a:gd name="T16" fmla="*/ 2147483647 w 258"/>
                    <a:gd name="T17" fmla="*/ 2147483647 h 291"/>
                    <a:gd name="T18" fmla="*/ 2147483647 w 258"/>
                    <a:gd name="T19" fmla="*/ 2147483647 h 291"/>
                    <a:gd name="T20" fmla="*/ 2147483647 w 258"/>
                    <a:gd name="T21" fmla="*/ 2147483647 h 291"/>
                    <a:gd name="T22" fmla="*/ 2147483647 w 258"/>
                    <a:gd name="T23" fmla="*/ 2147483647 h 291"/>
                    <a:gd name="T24" fmla="*/ 2147483647 w 258"/>
                    <a:gd name="T25" fmla="*/ 2147483647 h 291"/>
                    <a:gd name="T26" fmla="*/ 2147483647 w 258"/>
                    <a:gd name="T27" fmla="*/ 2147483647 h 291"/>
                    <a:gd name="T28" fmla="*/ 2147483647 w 258"/>
                    <a:gd name="T29" fmla="*/ 2147483647 h 291"/>
                    <a:gd name="T30" fmla="*/ 2147483647 w 258"/>
                    <a:gd name="T31" fmla="*/ 2147483647 h 291"/>
                    <a:gd name="T32" fmla="*/ 2147483647 w 258"/>
                    <a:gd name="T33" fmla="*/ 2147483647 h 291"/>
                    <a:gd name="T34" fmla="*/ 2147483647 w 258"/>
                    <a:gd name="T35" fmla="*/ 2147483647 h 291"/>
                    <a:gd name="T36" fmla="*/ 2147483647 w 258"/>
                    <a:gd name="T37" fmla="*/ 2147483647 h 291"/>
                    <a:gd name="T38" fmla="*/ 2147483647 w 258"/>
                    <a:gd name="T39" fmla="*/ 2147483647 h 291"/>
                    <a:gd name="T40" fmla="*/ 2147483647 w 258"/>
                    <a:gd name="T41" fmla="*/ 2147483647 h 29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58"/>
                    <a:gd name="T64" fmla="*/ 0 h 291"/>
                    <a:gd name="T65" fmla="*/ 258 w 258"/>
                    <a:gd name="T66" fmla="*/ 291 h 29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58" h="291">
                      <a:moveTo>
                        <a:pt x="257" y="94"/>
                      </a:moveTo>
                      <a:lnTo>
                        <a:pt x="199" y="60"/>
                      </a:lnTo>
                      <a:lnTo>
                        <a:pt x="186" y="60"/>
                      </a:lnTo>
                      <a:lnTo>
                        <a:pt x="147" y="20"/>
                      </a:lnTo>
                      <a:lnTo>
                        <a:pt x="89" y="0"/>
                      </a:ln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0" y="80"/>
                      </a:lnTo>
                      <a:lnTo>
                        <a:pt x="19" y="155"/>
                      </a:lnTo>
                      <a:lnTo>
                        <a:pt x="19" y="195"/>
                      </a:lnTo>
                      <a:lnTo>
                        <a:pt x="57" y="249"/>
                      </a:lnTo>
                      <a:lnTo>
                        <a:pt x="57" y="269"/>
                      </a:lnTo>
                      <a:lnTo>
                        <a:pt x="89" y="269"/>
                      </a:lnTo>
                      <a:lnTo>
                        <a:pt x="109" y="290"/>
                      </a:lnTo>
                      <a:lnTo>
                        <a:pt x="128" y="290"/>
                      </a:lnTo>
                      <a:lnTo>
                        <a:pt x="147" y="269"/>
                      </a:lnTo>
                      <a:lnTo>
                        <a:pt x="167" y="209"/>
                      </a:lnTo>
                      <a:lnTo>
                        <a:pt x="199" y="155"/>
                      </a:lnTo>
                      <a:lnTo>
                        <a:pt x="218" y="114"/>
                      </a:lnTo>
                      <a:lnTo>
                        <a:pt x="237" y="94"/>
                      </a:lnTo>
                      <a:lnTo>
                        <a:pt x="257" y="9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0" name="Freeform 66"/>
                <p:cNvSpPr>
                  <a:spLocks/>
                </p:cNvSpPr>
                <p:nvPr/>
              </p:nvSpPr>
              <p:spPr bwMode="blackWhite">
                <a:xfrm>
                  <a:off x="3454977" y="2271933"/>
                  <a:ext cx="332875" cy="208183"/>
                </a:xfrm>
                <a:custGeom>
                  <a:avLst/>
                  <a:gdLst>
                    <a:gd name="T0" fmla="*/ 2147483647 w 220"/>
                    <a:gd name="T1" fmla="*/ 2147483647 h 136"/>
                    <a:gd name="T2" fmla="*/ 2147483647 w 220"/>
                    <a:gd name="T3" fmla="*/ 2147483647 h 136"/>
                    <a:gd name="T4" fmla="*/ 2147483647 w 220"/>
                    <a:gd name="T5" fmla="*/ 2147483647 h 136"/>
                    <a:gd name="T6" fmla="*/ 2147483647 w 220"/>
                    <a:gd name="T7" fmla="*/ 2147483647 h 136"/>
                    <a:gd name="T8" fmla="*/ 2147483647 w 220"/>
                    <a:gd name="T9" fmla="*/ 0 h 136"/>
                    <a:gd name="T10" fmla="*/ 2147483647 w 220"/>
                    <a:gd name="T11" fmla="*/ 0 h 136"/>
                    <a:gd name="T12" fmla="*/ 2147483647 w 220"/>
                    <a:gd name="T13" fmla="*/ 2147483647 h 136"/>
                    <a:gd name="T14" fmla="*/ 2147483647 w 220"/>
                    <a:gd name="T15" fmla="*/ 2147483647 h 136"/>
                    <a:gd name="T16" fmla="*/ 0 w 220"/>
                    <a:gd name="T17" fmla="*/ 2147483647 h 136"/>
                    <a:gd name="T18" fmla="*/ 2147483647 w 220"/>
                    <a:gd name="T19" fmla="*/ 2147483647 h 136"/>
                    <a:gd name="T20" fmla="*/ 2147483647 w 220"/>
                    <a:gd name="T21" fmla="*/ 2147483647 h 136"/>
                    <a:gd name="T22" fmla="*/ 2147483647 w 220"/>
                    <a:gd name="T23" fmla="*/ 2147483647 h 136"/>
                    <a:gd name="T24" fmla="*/ 2147483647 w 220"/>
                    <a:gd name="T25" fmla="*/ 2147483647 h 136"/>
                    <a:gd name="T26" fmla="*/ 2147483647 w 220"/>
                    <a:gd name="T27" fmla="*/ 2147483647 h 136"/>
                    <a:gd name="T28" fmla="*/ 2147483647 w 220"/>
                    <a:gd name="T29" fmla="*/ 2147483647 h 136"/>
                    <a:gd name="T30" fmla="*/ 2147483647 w 220"/>
                    <a:gd name="T31" fmla="*/ 2147483647 h 136"/>
                    <a:gd name="T32" fmla="*/ 2147483647 w 220"/>
                    <a:gd name="T33" fmla="*/ 2147483647 h 136"/>
                    <a:gd name="T34" fmla="*/ 2147483647 w 220"/>
                    <a:gd name="T35" fmla="*/ 2147483647 h 136"/>
                    <a:gd name="T36" fmla="*/ 2147483647 w 220"/>
                    <a:gd name="T37" fmla="*/ 2147483647 h 1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20"/>
                    <a:gd name="T58" fmla="*/ 0 h 136"/>
                    <a:gd name="T59" fmla="*/ 220 w 220"/>
                    <a:gd name="T60" fmla="*/ 136 h 1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20" h="136">
                      <a:moveTo>
                        <a:pt x="219" y="114"/>
                      </a:move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41" y="20"/>
                      </a:lnTo>
                      <a:lnTo>
                        <a:pt x="90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32" y="60"/>
                      </a:lnTo>
                      <a:lnTo>
                        <a:pt x="0" y="114"/>
                      </a:lnTo>
                      <a:lnTo>
                        <a:pt x="19" y="114"/>
                      </a:lnTo>
                      <a:lnTo>
                        <a:pt x="51" y="101"/>
                      </a:lnTo>
                      <a:lnTo>
                        <a:pt x="70" y="81"/>
                      </a:lnTo>
                      <a:lnTo>
                        <a:pt x="90" y="101"/>
                      </a:lnTo>
                      <a:lnTo>
                        <a:pt x="51" y="135"/>
                      </a:lnTo>
                      <a:lnTo>
                        <a:pt x="128" y="135"/>
                      </a:lnTo>
                      <a:lnTo>
                        <a:pt x="128" y="101"/>
                      </a:lnTo>
                      <a:lnTo>
                        <a:pt x="141" y="101"/>
                      </a:lnTo>
                      <a:lnTo>
                        <a:pt x="161" y="114"/>
                      </a:lnTo>
                      <a:lnTo>
                        <a:pt x="219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1" name="Freeform 67"/>
                <p:cNvSpPr>
                  <a:spLocks/>
                </p:cNvSpPr>
                <p:nvPr/>
              </p:nvSpPr>
              <p:spPr bwMode="blackWhite">
                <a:xfrm>
                  <a:off x="2198292" y="3125265"/>
                  <a:ext cx="641896" cy="560575"/>
                </a:xfrm>
                <a:custGeom>
                  <a:avLst/>
                  <a:gdLst>
                    <a:gd name="T0" fmla="*/ 2147483647 w 425"/>
                    <a:gd name="T1" fmla="*/ 2147483647 h 365"/>
                    <a:gd name="T2" fmla="*/ 2147483647 w 425"/>
                    <a:gd name="T3" fmla="*/ 2147483647 h 365"/>
                    <a:gd name="T4" fmla="*/ 2147483647 w 425"/>
                    <a:gd name="T5" fmla="*/ 2147483647 h 365"/>
                    <a:gd name="T6" fmla="*/ 2147483647 w 425"/>
                    <a:gd name="T7" fmla="*/ 2147483647 h 365"/>
                    <a:gd name="T8" fmla="*/ 2147483647 w 425"/>
                    <a:gd name="T9" fmla="*/ 2147483647 h 365"/>
                    <a:gd name="T10" fmla="*/ 2147483647 w 425"/>
                    <a:gd name="T11" fmla="*/ 2147483647 h 365"/>
                    <a:gd name="T12" fmla="*/ 0 w 425"/>
                    <a:gd name="T13" fmla="*/ 2147483647 h 365"/>
                    <a:gd name="T14" fmla="*/ 0 w 425"/>
                    <a:gd name="T15" fmla="*/ 2147483647 h 365"/>
                    <a:gd name="T16" fmla="*/ 2147483647 w 425"/>
                    <a:gd name="T17" fmla="*/ 2147483647 h 365"/>
                    <a:gd name="T18" fmla="*/ 2147483647 w 425"/>
                    <a:gd name="T19" fmla="*/ 2147483647 h 365"/>
                    <a:gd name="T20" fmla="*/ 2147483647 w 425"/>
                    <a:gd name="T21" fmla="*/ 2147483647 h 365"/>
                    <a:gd name="T22" fmla="*/ 2147483647 w 425"/>
                    <a:gd name="T23" fmla="*/ 2147483647 h 365"/>
                    <a:gd name="T24" fmla="*/ 2147483647 w 425"/>
                    <a:gd name="T25" fmla="*/ 2147483647 h 365"/>
                    <a:gd name="T26" fmla="*/ 2147483647 w 425"/>
                    <a:gd name="T27" fmla="*/ 2147483647 h 365"/>
                    <a:gd name="T28" fmla="*/ 2147483647 w 425"/>
                    <a:gd name="T29" fmla="*/ 2147483647 h 365"/>
                    <a:gd name="T30" fmla="*/ 2147483647 w 425"/>
                    <a:gd name="T31" fmla="*/ 2147483647 h 365"/>
                    <a:gd name="T32" fmla="*/ 2147483647 w 425"/>
                    <a:gd name="T33" fmla="*/ 2147483647 h 365"/>
                    <a:gd name="T34" fmla="*/ 2147483647 w 425"/>
                    <a:gd name="T35" fmla="*/ 2147483647 h 365"/>
                    <a:gd name="T36" fmla="*/ 2147483647 w 425"/>
                    <a:gd name="T37" fmla="*/ 2147483647 h 365"/>
                    <a:gd name="T38" fmla="*/ 2147483647 w 425"/>
                    <a:gd name="T39" fmla="*/ 2147483647 h 365"/>
                    <a:gd name="T40" fmla="*/ 2147483647 w 425"/>
                    <a:gd name="T41" fmla="*/ 2147483647 h 365"/>
                    <a:gd name="T42" fmla="*/ 2147483647 w 425"/>
                    <a:gd name="T43" fmla="*/ 2147483647 h 365"/>
                    <a:gd name="T44" fmla="*/ 2147483647 w 425"/>
                    <a:gd name="T45" fmla="*/ 2147483647 h 365"/>
                    <a:gd name="T46" fmla="*/ 2147483647 w 425"/>
                    <a:gd name="T47" fmla="*/ 2147483647 h 365"/>
                    <a:gd name="T48" fmla="*/ 2147483647 w 425"/>
                    <a:gd name="T49" fmla="*/ 0 h 365"/>
                    <a:gd name="T50" fmla="*/ 2147483647 w 425"/>
                    <a:gd name="T51" fmla="*/ 2147483647 h 365"/>
                    <a:gd name="T52" fmla="*/ 2147483647 w 425"/>
                    <a:gd name="T53" fmla="*/ 2147483647 h 365"/>
                    <a:gd name="T54" fmla="*/ 2147483647 w 425"/>
                    <a:gd name="T55" fmla="*/ 2147483647 h 365"/>
                    <a:gd name="T56" fmla="*/ 2147483647 w 425"/>
                    <a:gd name="T57" fmla="*/ 0 h 365"/>
                    <a:gd name="T58" fmla="*/ 2147483647 w 425"/>
                    <a:gd name="T59" fmla="*/ 0 h 365"/>
                    <a:gd name="T60" fmla="*/ 2147483647 w 425"/>
                    <a:gd name="T61" fmla="*/ 2147483647 h 365"/>
                    <a:gd name="T62" fmla="*/ 2147483647 w 425"/>
                    <a:gd name="T63" fmla="*/ 2147483647 h 36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25"/>
                    <a:gd name="T97" fmla="*/ 0 h 365"/>
                    <a:gd name="T98" fmla="*/ 425 w 425"/>
                    <a:gd name="T99" fmla="*/ 365 h 36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25" h="365">
                      <a:moveTo>
                        <a:pt x="128" y="13"/>
                      </a:moveTo>
                      <a:lnTo>
                        <a:pt x="128" y="54"/>
                      </a:lnTo>
                      <a:lnTo>
                        <a:pt x="109" y="94"/>
                      </a:lnTo>
                      <a:lnTo>
                        <a:pt x="77" y="114"/>
                      </a:lnTo>
                      <a:lnTo>
                        <a:pt x="57" y="148"/>
                      </a:lnTo>
                      <a:lnTo>
                        <a:pt x="19" y="189"/>
                      </a:lnTo>
                      <a:lnTo>
                        <a:pt x="0" y="249"/>
                      </a:lnTo>
                      <a:lnTo>
                        <a:pt x="0" y="282"/>
                      </a:lnTo>
                      <a:lnTo>
                        <a:pt x="38" y="303"/>
                      </a:lnTo>
                      <a:lnTo>
                        <a:pt x="109" y="364"/>
                      </a:lnTo>
                      <a:lnTo>
                        <a:pt x="147" y="364"/>
                      </a:lnTo>
                      <a:lnTo>
                        <a:pt x="186" y="323"/>
                      </a:lnTo>
                      <a:lnTo>
                        <a:pt x="237" y="303"/>
                      </a:lnTo>
                      <a:lnTo>
                        <a:pt x="314" y="303"/>
                      </a:lnTo>
                      <a:lnTo>
                        <a:pt x="346" y="262"/>
                      </a:lnTo>
                      <a:lnTo>
                        <a:pt x="346" y="249"/>
                      </a:lnTo>
                      <a:lnTo>
                        <a:pt x="327" y="208"/>
                      </a:lnTo>
                      <a:lnTo>
                        <a:pt x="346" y="189"/>
                      </a:lnTo>
                      <a:lnTo>
                        <a:pt x="346" y="148"/>
                      </a:lnTo>
                      <a:lnTo>
                        <a:pt x="366" y="135"/>
                      </a:lnTo>
                      <a:lnTo>
                        <a:pt x="385" y="94"/>
                      </a:lnTo>
                      <a:lnTo>
                        <a:pt x="424" y="114"/>
                      </a:lnTo>
                      <a:lnTo>
                        <a:pt x="424" y="54"/>
                      </a:lnTo>
                      <a:lnTo>
                        <a:pt x="404" y="13"/>
                      </a:lnTo>
                      <a:lnTo>
                        <a:pt x="327" y="0"/>
                      </a:lnTo>
                      <a:lnTo>
                        <a:pt x="295" y="13"/>
                      </a:lnTo>
                      <a:lnTo>
                        <a:pt x="276" y="33"/>
                      </a:lnTo>
                      <a:lnTo>
                        <a:pt x="237" y="13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13"/>
                      </a:lnTo>
                      <a:lnTo>
                        <a:pt x="12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2" name="Freeform 5"/>
                <p:cNvSpPr>
                  <a:spLocks/>
                </p:cNvSpPr>
                <p:nvPr/>
              </p:nvSpPr>
              <p:spPr bwMode="blackWhite">
                <a:xfrm>
                  <a:off x="2120223" y="4013293"/>
                  <a:ext cx="555153" cy="387090"/>
                </a:xfrm>
                <a:custGeom>
                  <a:avLst/>
                  <a:gdLst>
                    <a:gd name="T0" fmla="*/ 2147483647 w 368"/>
                    <a:gd name="T1" fmla="*/ 2147483647 h 250"/>
                    <a:gd name="T2" fmla="*/ 2147483647 w 368"/>
                    <a:gd name="T3" fmla="*/ 2147483647 h 250"/>
                    <a:gd name="T4" fmla="*/ 2147483647 w 368"/>
                    <a:gd name="T5" fmla="*/ 2147483647 h 250"/>
                    <a:gd name="T6" fmla="*/ 2147483647 w 368"/>
                    <a:gd name="T7" fmla="*/ 2147483647 h 250"/>
                    <a:gd name="T8" fmla="*/ 2147483647 w 368"/>
                    <a:gd name="T9" fmla="*/ 2147483647 h 250"/>
                    <a:gd name="T10" fmla="*/ 2147483647 w 368"/>
                    <a:gd name="T11" fmla="*/ 2147483647 h 250"/>
                    <a:gd name="T12" fmla="*/ 2147483647 w 368"/>
                    <a:gd name="T13" fmla="*/ 2147483647 h 250"/>
                    <a:gd name="T14" fmla="*/ 2147483647 w 368"/>
                    <a:gd name="T15" fmla="*/ 2147483647 h 250"/>
                    <a:gd name="T16" fmla="*/ 2147483647 w 368"/>
                    <a:gd name="T17" fmla="*/ 2147483647 h 250"/>
                    <a:gd name="T18" fmla="*/ 2147483647 w 368"/>
                    <a:gd name="T19" fmla="*/ 2147483647 h 250"/>
                    <a:gd name="T20" fmla="*/ 2147483647 w 368"/>
                    <a:gd name="T21" fmla="*/ 2147483647 h 250"/>
                    <a:gd name="T22" fmla="*/ 2147483647 w 368"/>
                    <a:gd name="T23" fmla="*/ 2147483647 h 250"/>
                    <a:gd name="T24" fmla="*/ 2147483647 w 368"/>
                    <a:gd name="T25" fmla="*/ 2147483647 h 250"/>
                    <a:gd name="T26" fmla="*/ 2147483647 w 368"/>
                    <a:gd name="T27" fmla="*/ 2147483647 h 250"/>
                    <a:gd name="T28" fmla="*/ 2147483647 w 368"/>
                    <a:gd name="T29" fmla="*/ 2147483647 h 250"/>
                    <a:gd name="T30" fmla="*/ 2147483647 w 368"/>
                    <a:gd name="T31" fmla="*/ 2147483647 h 250"/>
                    <a:gd name="T32" fmla="*/ 2147483647 w 368"/>
                    <a:gd name="T33" fmla="*/ 2147483647 h 250"/>
                    <a:gd name="T34" fmla="*/ 2147483647 w 368"/>
                    <a:gd name="T35" fmla="*/ 0 h 250"/>
                    <a:gd name="T36" fmla="*/ 2147483647 w 368"/>
                    <a:gd name="T37" fmla="*/ 0 h 250"/>
                    <a:gd name="T38" fmla="*/ 2147483647 w 368"/>
                    <a:gd name="T39" fmla="*/ 2147483647 h 250"/>
                    <a:gd name="T40" fmla="*/ 2147483647 w 368"/>
                    <a:gd name="T41" fmla="*/ 2147483647 h 250"/>
                    <a:gd name="T42" fmla="*/ 2147483647 w 368"/>
                    <a:gd name="T43" fmla="*/ 2147483647 h 250"/>
                    <a:gd name="T44" fmla="*/ 2147483647 w 368"/>
                    <a:gd name="T45" fmla="*/ 2147483647 h 250"/>
                    <a:gd name="T46" fmla="*/ 0 w 368"/>
                    <a:gd name="T47" fmla="*/ 2147483647 h 250"/>
                    <a:gd name="T48" fmla="*/ 0 w 368"/>
                    <a:gd name="T49" fmla="*/ 2147483647 h 250"/>
                    <a:gd name="T50" fmla="*/ 2147483647 w 368"/>
                    <a:gd name="T51" fmla="*/ 2147483647 h 250"/>
                    <a:gd name="T52" fmla="*/ 2147483647 w 368"/>
                    <a:gd name="T53" fmla="*/ 2147483647 h 25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68"/>
                    <a:gd name="T82" fmla="*/ 0 h 250"/>
                    <a:gd name="T83" fmla="*/ 368 w 368"/>
                    <a:gd name="T84" fmla="*/ 250 h 25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68" h="250">
                      <a:moveTo>
                        <a:pt x="51" y="228"/>
                      </a:moveTo>
                      <a:lnTo>
                        <a:pt x="109" y="228"/>
                      </a:lnTo>
                      <a:lnTo>
                        <a:pt x="180" y="249"/>
                      </a:lnTo>
                      <a:lnTo>
                        <a:pt x="199" y="228"/>
                      </a:lnTo>
                      <a:lnTo>
                        <a:pt x="238" y="208"/>
                      </a:lnTo>
                      <a:lnTo>
                        <a:pt x="270" y="208"/>
                      </a:lnTo>
                      <a:lnTo>
                        <a:pt x="309" y="228"/>
                      </a:lnTo>
                      <a:lnTo>
                        <a:pt x="328" y="228"/>
                      </a:lnTo>
                      <a:lnTo>
                        <a:pt x="328" y="188"/>
                      </a:lnTo>
                      <a:lnTo>
                        <a:pt x="367" y="147"/>
                      </a:lnTo>
                      <a:lnTo>
                        <a:pt x="347" y="147"/>
                      </a:lnTo>
                      <a:lnTo>
                        <a:pt x="309" y="113"/>
                      </a:lnTo>
                      <a:lnTo>
                        <a:pt x="289" y="113"/>
                      </a:lnTo>
                      <a:lnTo>
                        <a:pt x="257" y="54"/>
                      </a:lnTo>
                      <a:lnTo>
                        <a:pt x="238" y="33"/>
                      </a:lnTo>
                      <a:lnTo>
                        <a:pt x="218" y="20"/>
                      </a:lnTo>
                      <a:lnTo>
                        <a:pt x="160" y="20"/>
                      </a:lnTo>
                      <a:lnTo>
                        <a:pt x="109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19" y="73"/>
                      </a:lnTo>
                      <a:lnTo>
                        <a:pt x="19" y="113"/>
                      </a:lnTo>
                      <a:lnTo>
                        <a:pt x="19" y="147"/>
                      </a:lnTo>
                      <a:lnTo>
                        <a:pt x="0" y="167"/>
                      </a:lnTo>
                      <a:lnTo>
                        <a:pt x="0" y="188"/>
                      </a:lnTo>
                      <a:lnTo>
                        <a:pt x="38" y="208"/>
                      </a:lnTo>
                      <a:lnTo>
                        <a:pt x="51" y="228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3" name="Freeform 6"/>
                <p:cNvSpPr>
                  <a:spLocks/>
                </p:cNvSpPr>
                <p:nvPr/>
              </p:nvSpPr>
              <p:spPr bwMode="blackWhite">
                <a:xfrm>
                  <a:off x="2228652" y="3738970"/>
                  <a:ext cx="721049" cy="505276"/>
                </a:xfrm>
                <a:custGeom>
                  <a:avLst/>
                  <a:gdLst>
                    <a:gd name="T0" fmla="*/ 2147483647 w 477"/>
                    <a:gd name="T1" fmla="*/ 2147483647 h 324"/>
                    <a:gd name="T2" fmla="*/ 2147483647 w 477"/>
                    <a:gd name="T3" fmla="*/ 2147483647 h 324"/>
                    <a:gd name="T4" fmla="*/ 2147483647 w 477"/>
                    <a:gd name="T5" fmla="*/ 2147483647 h 324"/>
                    <a:gd name="T6" fmla="*/ 2147483647 w 477"/>
                    <a:gd name="T7" fmla="*/ 2147483647 h 324"/>
                    <a:gd name="T8" fmla="*/ 2147483647 w 477"/>
                    <a:gd name="T9" fmla="*/ 2147483647 h 324"/>
                    <a:gd name="T10" fmla="*/ 2147483647 w 477"/>
                    <a:gd name="T11" fmla="*/ 2147483647 h 324"/>
                    <a:gd name="T12" fmla="*/ 2147483647 w 477"/>
                    <a:gd name="T13" fmla="*/ 2147483647 h 324"/>
                    <a:gd name="T14" fmla="*/ 2147483647 w 477"/>
                    <a:gd name="T15" fmla="*/ 2147483647 h 324"/>
                    <a:gd name="T16" fmla="*/ 2147483647 w 477"/>
                    <a:gd name="T17" fmla="*/ 2147483647 h 324"/>
                    <a:gd name="T18" fmla="*/ 2147483647 w 477"/>
                    <a:gd name="T19" fmla="*/ 2147483647 h 324"/>
                    <a:gd name="T20" fmla="*/ 2147483647 w 477"/>
                    <a:gd name="T21" fmla="*/ 2147483647 h 324"/>
                    <a:gd name="T22" fmla="*/ 2147483647 w 477"/>
                    <a:gd name="T23" fmla="*/ 0 h 324"/>
                    <a:gd name="T24" fmla="*/ 2147483647 w 477"/>
                    <a:gd name="T25" fmla="*/ 2147483647 h 324"/>
                    <a:gd name="T26" fmla="*/ 2147483647 w 477"/>
                    <a:gd name="T27" fmla="*/ 0 h 324"/>
                    <a:gd name="T28" fmla="*/ 2147483647 w 477"/>
                    <a:gd name="T29" fmla="*/ 0 h 324"/>
                    <a:gd name="T30" fmla="*/ 2147483647 w 477"/>
                    <a:gd name="T31" fmla="*/ 2147483647 h 324"/>
                    <a:gd name="T32" fmla="*/ 2147483647 w 477"/>
                    <a:gd name="T33" fmla="*/ 2147483647 h 324"/>
                    <a:gd name="T34" fmla="*/ 2147483647 w 477"/>
                    <a:gd name="T35" fmla="*/ 2147483647 h 324"/>
                    <a:gd name="T36" fmla="*/ 0 w 477"/>
                    <a:gd name="T37" fmla="*/ 2147483647 h 324"/>
                    <a:gd name="T38" fmla="*/ 2147483647 w 477"/>
                    <a:gd name="T39" fmla="*/ 2147483647 h 324"/>
                    <a:gd name="T40" fmla="*/ 2147483647 w 477"/>
                    <a:gd name="T41" fmla="*/ 2147483647 h 324"/>
                    <a:gd name="T42" fmla="*/ 2147483647 w 477"/>
                    <a:gd name="T43" fmla="*/ 2147483647 h 324"/>
                    <a:gd name="T44" fmla="*/ 2147483647 w 477"/>
                    <a:gd name="T45" fmla="*/ 2147483647 h 324"/>
                    <a:gd name="T46" fmla="*/ 2147483647 w 477"/>
                    <a:gd name="T47" fmla="*/ 2147483647 h 324"/>
                    <a:gd name="T48" fmla="*/ 2147483647 w 477"/>
                    <a:gd name="T49" fmla="*/ 2147483647 h 324"/>
                    <a:gd name="T50" fmla="*/ 2147483647 w 477"/>
                    <a:gd name="T51" fmla="*/ 2147483647 h 324"/>
                    <a:gd name="T52" fmla="*/ 2147483647 w 477"/>
                    <a:gd name="T53" fmla="*/ 2147483647 h 324"/>
                    <a:gd name="T54" fmla="*/ 2147483647 w 477"/>
                    <a:gd name="T55" fmla="*/ 2147483647 h 324"/>
                    <a:gd name="T56" fmla="*/ 2147483647 w 477"/>
                    <a:gd name="T57" fmla="*/ 2147483647 h 324"/>
                    <a:gd name="T58" fmla="*/ 2147483647 w 477"/>
                    <a:gd name="T59" fmla="*/ 2147483647 h 324"/>
                    <a:gd name="T60" fmla="*/ 2147483647 w 477"/>
                    <a:gd name="T61" fmla="*/ 2147483647 h 324"/>
                    <a:gd name="T62" fmla="*/ 2147483647 w 477"/>
                    <a:gd name="T63" fmla="*/ 2147483647 h 32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77"/>
                    <a:gd name="T97" fmla="*/ 0 h 324"/>
                    <a:gd name="T98" fmla="*/ 477 w 477"/>
                    <a:gd name="T99" fmla="*/ 324 h 32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77" h="324">
                      <a:moveTo>
                        <a:pt x="456" y="209"/>
                      </a:moveTo>
                      <a:lnTo>
                        <a:pt x="456" y="195"/>
                      </a:lnTo>
                      <a:lnTo>
                        <a:pt x="476" y="175"/>
                      </a:lnTo>
                      <a:lnTo>
                        <a:pt x="437" y="175"/>
                      </a:lnTo>
                      <a:lnTo>
                        <a:pt x="405" y="175"/>
                      </a:lnTo>
                      <a:lnTo>
                        <a:pt x="366" y="155"/>
                      </a:lnTo>
                      <a:lnTo>
                        <a:pt x="347" y="114"/>
                      </a:lnTo>
                      <a:lnTo>
                        <a:pt x="347" y="94"/>
                      </a:lnTo>
                      <a:lnTo>
                        <a:pt x="328" y="80"/>
                      </a:lnTo>
                      <a:lnTo>
                        <a:pt x="328" y="40"/>
                      </a:lnTo>
                      <a:lnTo>
                        <a:pt x="308" y="20"/>
                      </a:lnTo>
                      <a:lnTo>
                        <a:pt x="276" y="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28" y="0"/>
                      </a:lnTo>
                      <a:lnTo>
                        <a:pt x="90" y="60"/>
                      </a:lnTo>
                      <a:lnTo>
                        <a:pt x="57" y="114"/>
                      </a:lnTo>
                      <a:lnTo>
                        <a:pt x="19" y="155"/>
                      </a:lnTo>
                      <a:lnTo>
                        <a:pt x="0" y="175"/>
                      </a:lnTo>
                      <a:lnTo>
                        <a:pt x="38" y="175"/>
                      </a:lnTo>
                      <a:lnTo>
                        <a:pt x="90" y="195"/>
                      </a:lnTo>
                      <a:lnTo>
                        <a:pt x="147" y="195"/>
                      </a:lnTo>
                      <a:lnTo>
                        <a:pt x="167" y="209"/>
                      </a:lnTo>
                      <a:lnTo>
                        <a:pt x="186" y="229"/>
                      </a:lnTo>
                      <a:lnTo>
                        <a:pt x="218" y="289"/>
                      </a:lnTo>
                      <a:lnTo>
                        <a:pt x="238" y="289"/>
                      </a:lnTo>
                      <a:lnTo>
                        <a:pt x="276" y="323"/>
                      </a:lnTo>
                      <a:lnTo>
                        <a:pt x="295" y="323"/>
                      </a:lnTo>
                      <a:lnTo>
                        <a:pt x="308" y="309"/>
                      </a:lnTo>
                      <a:lnTo>
                        <a:pt x="366" y="269"/>
                      </a:lnTo>
                      <a:lnTo>
                        <a:pt x="418" y="229"/>
                      </a:lnTo>
                      <a:lnTo>
                        <a:pt x="456" y="209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4" name="Freeform 7"/>
                <p:cNvSpPr>
                  <a:spLocks/>
                </p:cNvSpPr>
                <p:nvPr/>
              </p:nvSpPr>
              <p:spPr bwMode="blackWhite">
                <a:xfrm>
                  <a:off x="2201544" y="4332072"/>
                  <a:ext cx="416365" cy="325285"/>
                </a:xfrm>
                <a:custGeom>
                  <a:avLst/>
                  <a:gdLst>
                    <a:gd name="T0" fmla="*/ 2147483647 w 277"/>
                    <a:gd name="T1" fmla="*/ 2147483647 h 210"/>
                    <a:gd name="T2" fmla="*/ 2147483647 w 277"/>
                    <a:gd name="T3" fmla="*/ 2147483647 h 210"/>
                    <a:gd name="T4" fmla="*/ 2147483647 w 277"/>
                    <a:gd name="T5" fmla="*/ 2147483647 h 210"/>
                    <a:gd name="T6" fmla="*/ 2147483647 w 277"/>
                    <a:gd name="T7" fmla="*/ 2147483647 h 210"/>
                    <a:gd name="T8" fmla="*/ 2147483647 w 277"/>
                    <a:gd name="T9" fmla="*/ 2147483647 h 210"/>
                    <a:gd name="T10" fmla="*/ 2147483647 w 277"/>
                    <a:gd name="T11" fmla="*/ 0 h 210"/>
                    <a:gd name="T12" fmla="*/ 2147483647 w 277"/>
                    <a:gd name="T13" fmla="*/ 0 h 210"/>
                    <a:gd name="T14" fmla="*/ 2147483647 w 277"/>
                    <a:gd name="T15" fmla="*/ 2147483647 h 210"/>
                    <a:gd name="T16" fmla="*/ 2147483647 w 277"/>
                    <a:gd name="T17" fmla="*/ 2147483647 h 210"/>
                    <a:gd name="T18" fmla="*/ 2147483647 w 277"/>
                    <a:gd name="T19" fmla="*/ 2147483647 h 210"/>
                    <a:gd name="T20" fmla="*/ 0 w 277"/>
                    <a:gd name="T21" fmla="*/ 2147483647 h 210"/>
                    <a:gd name="T22" fmla="*/ 0 w 277"/>
                    <a:gd name="T23" fmla="*/ 2147483647 h 210"/>
                    <a:gd name="T24" fmla="*/ 2147483647 w 277"/>
                    <a:gd name="T25" fmla="*/ 2147483647 h 210"/>
                    <a:gd name="T26" fmla="*/ 2147483647 w 277"/>
                    <a:gd name="T27" fmla="*/ 2147483647 h 210"/>
                    <a:gd name="T28" fmla="*/ 2147483647 w 277"/>
                    <a:gd name="T29" fmla="*/ 2147483647 h 210"/>
                    <a:gd name="T30" fmla="*/ 2147483647 w 277"/>
                    <a:gd name="T31" fmla="*/ 2147483647 h 210"/>
                    <a:gd name="T32" fmla="*/ 2147483647 w 277"/>
                    <a:gd name="T33" fmla="*/ 2147483647 h 210"/>
                    <a:gd name="T34" fmla="*/ 2147483647 w 277"/>
                    <a:gd name="T35" fmla="*/ 2147483647 h 210"/>
                    <a:gd name="T36" fmla="*/ 2147483647 w 277"/>
                    <a:gd name="T37" fmla="*/ 2147483647 h 210"/>
                    <a:gd name="T38" fmla="*/ 2147483647 w 277"/>
                    <a:gd name="T39" fmla="*/ 2147483647 h 2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77"/>
                    <a:gd name="T61" fmla="*/ 0 h 210"/>
                    <a:gd name="T62" fmla="*/ 277 w 277"/>
                    <a:gd name="T63" fmla="*/ 210 h 2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77" h="210">
                      <a:moveTo>
                        <a:pt x="218" y="209"/>
                      </a:moveTo>
                      <a:lnTo>
                        <a:pt x="256" y="155"/>
                      </a:lnTo>
                      <a:lnTo>
                        <a:pt x="276" y="74"/>
                      </a:lnTo>
                      <a:lnTo>
                        <a:pt x="276" y="20"/>
                      </a:lnTo>
                      <a:lnTo>
                        <a:pt x="256" y="20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28" y="40"/>
                      </a:lnTo>
                      <a:lnTo>
                        <a:pt x="57" y="20"/>
                      </a:lnTo>
                      <a:lnTo>
                        <a:pt x="0" y="20"/>
                      </a:lnTo>
                      <a:lnTo>
                        <a:pt x="0" y="74"/>
                      </a:lnTo>
                      <a:lnTo>
                        <a:pt x="57" y="74"/>
                      </a:lnTo>
                      <a:lnTo>
                        <a:pt x="109" y="94"/>
                      </a:lnTo>
                      <a:lnTo>
                        <a:pt x="128" y="114"/>
                      </a:lnTo>
                      <a:lnTo>
                        <a:pt x="166" y="134"/>
                      </a:lnTo>
                      <a:lnTo>
                        <a:pt x="186" y="155"/>
                      </a:lnTo>
                      <a:lnTo>
                        <a:pt x="205" y="155"/>
                      </a:lnTo>
                      <a:lnTo>
                        <a:pt x="205" y="188"/>
                      </a:lnTo>
                      <a:lnTo>
                        <a:pt x="218" y="209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5" name="Freeform 8"/>
                <p:cNvSpPr>
                  <a:spLocks/>
                </p:cNvSpPr>
                <p:nvPr/>
              </p:nvSpPr>
              <p:spPr bwMode="blackWhite">
                <a:xfrm>
                  <a:off x="2888981" y="3833302"/>
                  <a:ext cx="387090" cy="229868"/>
                </a:xfrm>
                <a:custGeom>
                  <a:avLst/>
                  <a:gdLst>
                    <a:gd name="T0" fmla="*/ 2147483647 w 257"/>
                    <a:gd name="T1" fmla="*/ 2147483647 h 149"/>
                    <a:gd name="T2" fmla="*/ 2147483647 w 257"/>
                    <a:gd name="T3" fmla="*/ 2147483647 h 149"/>
                    <a:gd name="T4" fmla="*/ 2147483647 w 257"/>
                    <a:gd name="T5" fmla="*/ 2147483647 h 149"/>
                    <a:gd name="T6" fmla="*/ 0 w 257"/>
                    <a:gd name="T7" fmla="*/ 2147483647 h 149"/>
                    <a:gd name="T8" fmla="*/ 2147483647 w 257"/>
                    <a:gd name="T9" fmla="*/ 2147483647 h 149"/>
                    <a:gd name="T10" fmla="*/ 2147483647 w 257"/>
                    <a:gd name="T11" fmla="*/ 2147483647 h 149"/>
                    <a:gd name="T12" fmla="*/ 2147483647 w 257"/>
                    <a:gd name="T13" fmla="*/ 2147483647 h 149"/>
                    <a:gd name="T14" fmla="*/ 2147483647 w 257"/>
                    <a:gd name="T15" fmla="*/ 2147483647 h 149"/>
                    <a:gd name="T16" fmla="*/ 2147483647 w 257"/>
                    <a:gd name="T17" fmla="*/ 2147483647 h 149"/>
                    <a:gd name="T18" fmla="*/ 2147483647 w 257"/>
                    <a:gd name="T19" fmla="*/ 0 h 149"/>
                    <a:gd name="T20" fmla="*/ 2147483647 w 257"/>
                    <a:gd name="T21" fmla="*/ 2147483647 h 149"/>
                    <a:gd name="T22" fmla="*/ 2147483647 w 257"/>
                    <a:gd name="T23" fmla="*/ 2147483647 h 149"/>
                    <a:gd name="T24" fmla="*/ 2147483647 w 257"/>
                    <a:gd name="T25" fmla="*/ 2147483647 h 149"/>
                    <a:gd name="T26" fmla="*/ 2147483647 w 257"/>
                    <a:gd name="T27" fmla="*/ 2147483647 h 149"/>
                    <a:gd name="T28" fmla="*/ 2147483647 w 257"/>
                    <a:gd name="T29" fmla="*/ 2147483647 h 149"/>
                    <a:gd name="T30" fmla="*/ 2147483647 w 257"/>
                    <a:gd name="T31" fmla="*/ 2147483647 h 149"/>
                    <a:gd name="T32" fmla="*/ 2147483647 w 257"/>
                    <a:gd name="T33" fmla="*/ 2147483647 h 149"/>
                    <a:gd name="T34" fmla="*/ 2147483647 w 257"/>
                    <a:gd name="T35" fmla="*/ 2147483647 h 14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57"/>
                    <a:gd name="T55" fmla="*/ 0 h 149"/>
                    <a:gd name="T56" fmla="*/ 257 w 257"/>
                    <a:gd name="T57" fmla="*/ 149 h 14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57" h="149">
                      <a:moveTo>
                        <a:pt x="19" y="148"/>
                      </a:moveTo>
                      <a:lnTo>
                        <a:pt x="19" y="134"/>
                      </a:lnTo>
                      <a:lnTo>
                        <a:pt x="38" y="114"/>
                      </a:lnTo>
                      <a:lnTo>
                        <a:pt x="0" y="114"/>
                      </a:lnTo>
                      <a:lnTo>
                        <a:pt x="38" y="94"/>
                      </a:lnTo>
                      <a:lnTo>
                        <a:pt x="76" y="74"/>
                      </a:lnTo>
                      <a:lnTo>
                        <a:pt x="108" y="74"/>
                      </a:lnTo>
                      <a:lnTo>
                        <a:pt x="146" y="53"/>
                      </a:lnTo>
                      <a:lnTo>
                        <a:pt x="166" y="20"/>
                      </a:lnTo>
                      <a:lnTo>
                        <a:pt x="185" y="0"/>
                      </a:lnTo>
                      <a:lnTo>
                        <a:pt x="198" y="33"/>
                      </a:lnTo>
                      <a:lnTo>
                        <a:pt x="256" y="33"/>
                      </a:lnTo>
                      <a:lnTo>
                        <a:pt x="236" y="53"/>
                      </a:lnTo>
                      <a:lnTo>
                        <a:pt x="236" y="74"/>
                      </a:lnTo>
                      <a:lnTo>
                        <a:pt x="198" y="94"/>
                      </a:lnTo>
                      <a:lnTo>
                        <a:pt x="185" y="134"/>
                      </a:lnTo>
                      <a:lnTo>
                        <a:pt x="89" y="134"/>
                      </a:lnTo>
                      <a:lnTo>
                        <a:pt x="19" y="14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6" name="Freeform 9"/>
                <p:cNvSpPr>
                  <a:spLocks/>
                </p:cNvSpPr>
                <p:nvPr/>
              </p:nvSpPr>
              <p:spPr bwMode="blackWhite">
                <a:xfrm>
                  <a:off x="3167641" y="3566569"/>
                  <a:ext cx="216857" cy="329622"/>
                </a:xfrm>
                <a:custGeom>
                  <a:avLst/>
                  <a:gdLst>
                    <a:gd name="T0" fmla="*/ 2147483647 w 142"/>
                    <a:gd name="T1" fmla="*/ 2147483647 h 211"/>
                    <a:gd name="T2" fmla="*/ 2147483647 w 142"/>
                    <a:gd name="T3" fmla="*/ 2147483647 h 211"/>
                    <a:gd name="T4" fmla="*/ 2147483647 w 142"/>
                    <a:gd name="T5" fmla="*/ 2147483647 h 211"/>
                    <a:gd name="T6" fmla="*/ 2147483647 w 142"/>
                    <a:gd name="T7" fmla="*/ 2147483647 h 211"/>
                    <a:gd name="T8" fmla="*/ 2147483647 w 142"/>
                    <a:gd name="T9" fmla="*/ 0 h 211"/>
                    <a:gd name="T10" fmla="*/ 2147483647 w 142"/>
                    <a:gd name="T11" fmla="*/ 0 h 211"/>
                    <a:gd name="T12" fmla="*/ 2147483647 w 142"/>
                    <a:gd name="T13" fmla="*/ 2147483647 h 211"/>
                    <a:gd name="T14" fmla="*/ 2147483647 w 142"/>
                    <a:gd name="T15" fmla="*/ 2147483647 h 211"/>
                    <a:gd name="T16" fmla="*/ 2147483647 w 142"/>
                    <a:gd name="T17" fmla="*/ 2147483647 h 211"/>
                    <a:gd name="T18" fmla="*/ 2147483647 w 142"/>
                    <a:gd name="T19" fmla="*/ 2147483647 h 211"/>
                    <a:gd name="T20" fmla="*/ 2147483647 w 142"/>
                    <a:gd name="T21" fmla="*/ 2147483647 h 211"/>
                    <a:gd name="T22" fmla="*/ 0 w 142"/>
                    <a:gd name="T23" fmla="*/ 2147483647 h 211"/>
                    <a:gd name="T24" fmla="*/ 2147483647 w 142"/>
                    <a:gd name="T25" fmla="*/ 2147483647 h 211"/>
                    <a:gd name="T26" fmla="*/ 2147483647 w 142"/>
                    <a:gd name="T27" fmla="*/ 2147483647 h 2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2"/>
                    <a:gd name="T43" fmla="*/ 0 h 211"/>
                    <a:gd name="T44" fmla="*/ 142 w 142"/>
                    <a:gd name="T45" fmla="*/ 211 h 2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2" h="211">
                      <a:moveTo>
                        <a:pt x="70" y="210"/>
                      </a:moveTo>
                      <a:lnTo>
                        <a:pt x="108" y="135"/>
                      </a:lnTo>
                      <a:lnTo>
                        <a:pt x="121" y="60"/>
                      </a:lnTo>
                      <a:lnTo>
                        <a:pt x="141" y="20"/>
                      </a:lnTo>
                      <a:lnTo>
                        <a:pt x="121" y="0"/>
                      </a:lnTo>
                      <a:lnTo>
                        <a:pt x="89" y="0"/>
                      </a:lnTo>
                      <a:lnTo>
                        <a:pt x="70" y="20"/>
                      </a:lnTo>
                      <a:lnTo>
                        <a:pt x="70" y="40"/>
                      </a:lnTo>
                      <a:lnTo>
                        <a:pt x="51" y="81"/>
                      </a:lnTo>
                      <a:lnTo>
                        <a:pt x="51" y="94"/>
                      </a:lnTo>
                      <a:lnTo>
                        <a:pt x="12" y="135"/>
                      </a:lnTo>
                      <a:lnTo>
                        <a:pt x="0" y="176"/>
                      </a:lnTo>
                      <a:lnTo>
                        <a:pt x="12" y="210"/>
                      </a:lnTo>
                      <a:lnTo>
                        <a:pt x="70" y="210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7" name="Freeform 10"/>
                <p:cNvSpPr>
                  <a:spLocks/>
                </p:cNvSpPr>
                <p:nvPr/>
              </p:nvSpPr>
              <p:spPr bwMode="blackWhite">
                <a:xfrm>
                  <a:off x="2421654" y="3240199"/>
                  <a:ext cx="962844" cy="773095"/>
                </a:xfrm>
                <a:custGeom>
                  <a:avLst/>
                  <a:gdLst>
                    <a:gd name="T0" fmla="*/ 2147483647 w 637"/>
                    <a:gd name="T1" fmla="*/ 2147483647 h 500"/>
                    <a:gd name="T2" fmla="*/ 2147483647 w 637"/>
                    <a:gd name="T3" fmla="*/ 2147483647 h 500"/>
                    <a:gd name="T4" fmla="*/ 2147483647 w 637"/>
                    <a:gd name="T5" fmla="*/ 2147483647 h 500"/>
                    <a:gd name="T6" fmla="*/ 2147483647 w 637"/>
                    <a:gd name="T7" fmla="*/ 2147483647 h 500"/>
                    <a:gd name="T8" fmla="*/ 2147483647 w 637"/>
                    <a:gd name="T9" fmla="*/ 2147483647 h 500"/>
                    <a:gd name="T10" fmla="*/ 2147483647 w 637"/>
                    <a:gd name="T11" fmla="*/ 2147483647 h 500"/>
                    <a:gd name="T12" fmla="*/ 2147483647 w 637"/>
                    <a:gd name="T13" fmla="*/ 2147483647 h 500"/>
                    <a:gd name="T14" fmla="*/ 2147483647 w 637"/>
                    <a:gd name="T15" fmla="*/ 2147483647 h 500"/>
                    <a:gd name="T16" fmla="*/ 2147483647 w 637"/>
                    <a:gd name="T17" fmla="*/ 2147483647 h 500"/>
                    <a:gd name="T18" fmla="*/ 2147483647 w 637"/>
                    <a:gd name="T19" fmla="*/ 2147483647 h 500"/>
                    <a:gd name="T20" fmla="*/ 2147483647 w 637"/>
                    <a:gd name="T21" fmla="*/ 2147483647 h 500"/>
                    <a:gd name="T22" fmla="*/ 2147483647 w 637"/>
                    <a:gd name="T23" fmla="*/ 0 h 500"/>
                    <a:gd name="T24" fmla="*/ 2147483647 w 637"/>
                    <a:gd name="T25" fmla="*/ 0 h 500"/>
                    <a:gd name="T26" fmla="*/ 2147483647 w 637"/>
                    <a:gd name="T27" fmla="*/ 2147483647 h 500"/>
                    <a:gd name="T28" fmla="*/ 2147483647 w 637"/>
                    <a:gd name="T29" fmla="*/ 2147483647 h 500"/>
                    <a:gd name="T30" fmla="*/ 2147483647 w 637"/>
                    <a:gd name="T31" fmla="*/ 2147483647 h 500"/>
                    <a:gd name="T32" fmla="*/ 2147483647 w 637"/>
                    <a:gd name="T33" fmla="*/ 2147483647 h 500"/>
                    <a:gd name="T34" fmla="*/ 2147483647 w 637"/>
                    <a:gd name="T35" fmla="*/ 2147483647 h 500"/>
                    <a:gd name="T36" fmla="*/ 2147483647 w 637"/>
                    <a:gd name="T37" fmla="*/ 2147483647 h 500"/>
                    <a:gd name="T38" fmla="*/ 2147483647 w 637"/>
                    <a:gd name="T39" fmla="*/ 2147483647 h 500"/>
                    <a:gd name="T40" fmla="*/ 2147483647 w 637"/>
                    <a:gd name="T41" fmla="*/ 2147483647 h 500"/>
                    <a:gd name="T42" fmla="*/ 2147483647 w 637"/>
                    <a:gd name="T43" fmla="*/ 2147483647 h 500"/>
                    <a:gd name="T44" fmla="*/ 2147483647 w 637"/>
                    <a:gd name="T45" fmla="*/ 2147483647 h 500"/>
                    <a:gd name="T46" fmla="*/ 2147483647 w 637"/>
                    <a:gd name="T47" fmla="*/ 2147483647 h 500"/>
                    <a:gd name="T48" fmla="*/ 2147483647 w 637"/>
                    <a:gd name="T49" fmla="*/ 2147483647 h 500"/>
                    <a:gd name="T50" fmla="*/ 0 w 637"/>
                    <a:gd name="T51" fmla="*/ 2147483647 h 500"/>
                    <a:gd name="T52" fmla="*/ 0 w 637"/>
                    <a:gd name="T53" fmla="*/ 2147483647 h 500"/>
                    <a:gd name="T54" fmla="*/ 2147483647 w 637"/>
                    <a:gd name="T55" fmla="*/ 2147483647 h 500"/>
                    <a:gd name="T56" fmla="*/ 2147483647 w 637"/>
                    <a:gd name="T57" fmla="*/ 2147483647 h 500"/>
                    <a:gd name="T58" fmla="*/ 2147483647 w 637"/>
                    <a:gd name="T59" fmla="*/ 2147483647 h 500"/>
                    <a:gd name="T60" fmla="*/ 2147483647 w 637"/>
                    <a:gd name="T61" fmla="*/ 2147483647 h 500"/>
                    <a:gd name="T62" fmla="*/ 2147483647 w 637"/>
                    <a:gd name="T63" fmla="*/ 2147483647 h 500"/>
                    <a:gd name="T64" fmla="*/ 2147483647 w 637"/>
                    <a:gd name="T65" fmla="*/ 2147483647 h 500"/>
                    <a:gd name="T66" fmla="*/ 2147483647 w 637"/>
                    <a:gd name="T67" fmla="*/ 2147483647 h 500"/>
                    <a:gd name="T68" fmla="*/ 2147483647 w 637"/>
                    <a:gd name="T69" fmla="*/ 2147483647 h 500"/>
                    <a:gd name="T70" fmla="*/ 2147483647 w 637"/>
                    <a:gd name="T71" fmla="*/ 2147483647 h 500"/>
                    <a:gd name="T72" fmla="*/ 2147483647 w 637"/>
                    <a:gd name="T73" fmla="*/ 2147483647 h 500"/>
                    <a:gd name="T74" fmla="*/ 2147483647 w 637"/>
                    <a:gd name="T75" fmla="*/ 2147483647 h 500"/>
                    <a:gd name="T76" fmla="*/ 2147483647 w 637"/>
                    <a:gd name="T77" fmla="*/ 2147483647 h 500"/>
                    <a:gd name="T78" fmla="*/ 2147483647 w 637"/>
                    <a:gd name="T79" fmla="*/ 2147483647 h 500"/>
                    <a:gd name="T80" fmla="*/ 2147483647 w 637"/>
                    <a:gd name="T81" fmla="*/ 2147483647 h 500"/>
                    <a:gd name="T82" fmla="*/ 2147483647 w 637"/>
                    <a:gd name="T83" fmla="*/ 2147483647 h 500"/>
                    <a:gd name="T84" fmla="*/ 2147483647 w 637"/>
                    <a:gd name="T85" fmla="*/ 2147483647 h 500"/>
                    <a:gd name="T86" fmla="*/ 2147483647 w 637"/>
                    <a:gd name="T87" fmla="*/ 2147483647 h 500"/>
                    <a:gd name="T88" fmla="*/ 2147483647 w 637"/>
                    <a:gd name="T89" fmla="*/ 2147483647 h 500"/>
                    <a:gd name="T90" fmla="*/ 2147483647 w 637"/>
                    <a:gd name="T91" fmla="*/ 2147483647 h 500"/>
                    <a:gd name="T92" fmla="*/ 2147483647 w 637"/>
                    <a:gd name="T93" fmla="*/ 2147483647 h 500"/>
                    <a:gd name="T94" fmla="*/ 2147483647 w 637"/>
                    <a:gd name="T95" fmla="*/ 2147483647 h 500"/>
                    <a:gd name="T96" fmla="*/ 2147483647 w 637"/>
                    <a:gd name="T97" fmla="*/ 2147483647 h 500"/>
                    <a:gd name="T98" fmla="*/ 2147483647 w 637"/>
                    <a:gd name="T99" fmla="*/ 2147483647 h 500"/>
                    <a:gd name="T100" fmla="*/ 2147483647 w 637"/>
                    <a:gd name="T101" fmla="*/ 2147483647 h 500"/>
                    <a:gd name="T102" fmla="*/ 2147483647 w 637"/>
                    <a:gd name="T103" fmla="*/ 2147483647 h 5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37"/>
                    <a:gd name="T157" fmla="*/ 0 h 500"/>
                    <a:gd name="T158" fmla="*/ 637 w 637"/>
                    <a:gd name="T159" fmla="*/ 500 h 5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37" h="500">
                      <a:moveTo>
                        <a:pt x="616" y="188"/>
                      </a:moveTo>
                      <a:lnTo>
                        <a:pt x="603" y="174"/>
                      </a:lnTo>
                      <a:lnTo>
                        <a:pt x="616" y="134"/>
                      </a:lnTo>
                      <a:lnTo>
                        <a:pt x="636" y="114"/>
                      </a:lnTo>
                      <a:lnTo>
                        <a:pt x="636" y="94"/>
                      </a:lnTo>
                      <a:lnTo>
                        <a:pt x="584" y="74"/>
                      </a:lnTo>
                      <a:lnTo>
                        <a:pt x="565" y="74"/>
                      </a:lnTo>
                      <a:lnTo>
                        <a:pt x="526" y="40"/>
                      </a:lnTo>
                      <a:lnTo>
                        <a:pt x="494" y="40"/>
                      </a:lnTo>
                      <a:lnTo>
                        <a:pt x="455" y="20"/>
                      </a:lnTo>
                      <a:lnTo>
                        <a:pt x="417" y="20"/>
                      </a:lnTo>
                      <a:lnTo>
                        <a:pt x="385" y="0"/>
                      </a:lnTo>
                      <a:lnTo>
                        <a:pt x="328" y="0"/>
                      </a:lnTo>
                      <a:lnTo>
                        <a:pt x="308" y="20"/>
                      </a:lnTo>
                      <a:lnTo>
                        <a:pt x="276" y="40"/>
                      </a:lnTo>
                      <a:lnTo>
                        <a:pt x="237" y="20"/>
                      </a:lnTo>
                      <a:lnTo>
                        <a:pt x="218" y="60"/>
                      </a:lnTo>
                      <a:lnTo>
                        <a:pt x="199" y="74"/>
                      </a:lnTo>
                      <a:lnTo>
                        <a:pt x="199" y="114"/>
                      </a:lnTo>
                      <a:lnTo>
                        <a:pt x="180" y="134"/>
                      </a:lnTo>
                      <a:lnTo>
                        <a:pt x="199" y="174"/>
                      </a:lnTo>
                      <a:lnTo>
                        <a:pt x="199" y="188"/>
                      </a:lnTo>
                      <a:lnTo>
                        <a:pt x="167" y="228"/>
                      </a:lnTo>
                      <a:lnTo>
                        <a:pt x="90" y="228"/>
                      </a:lnTo>
                      <a:lnTo>
                        <a:pt x="38" y="249"/>
                      </a:lnTo>
                      <a:lnTo>
                        <a:pt x="0" y="289"/>
                      </a:lnTo>
                      <a:lnTo>
                        <a:pt x="0" y="323"/>
                      </a:lnTo>
                      <a:lnTo>
                        <a:pt x="57" y="323"/>
                      </a:lnTo>
                      <a:lnTo>
                        <a:pt x="90" y="343"/>
                      </a:lnTo>
                      <a:lnTo>
                        <a:pt x="147" y="323"/>
                      </a:lnTo>
                      <a:lnTo>
                        <a:pt x="180" y="343"/>
                      </a:lnTo>
                      <a:lnTo>
                        <a:pt x="199" y="363"/>
                      </a:lnTo>
                      <a:lnTo>
                        <a:pt x="199" y="404"/>
                      </a:lnTo>
                      <a:lnTo>
                        <a:pt x="218" y="417"/>
                      </a:lnTo>
                      <a:lnTo>
                        <a:pt x="218" y="438"/>
                      </a:lnTo>
                      <a:lnTo>
                        <a:pt x="237" y="478"/>
                      </a:lnTo>
                      <a:lnTo>
                        <a:pt x="276" y="499"/>
                      </a:lnTo>
                      <a:lnTo>
                        <a:pt x="308" y="499"/>
                      </a:lnTo>
                      <a:lnTo>
                        <a:pt x="347" y="478"/>
                      </a:lnTo>
                      <a:lnTo>
                        <a:pt x="385" y="458"/>
                      </a:lnTo>
                      <a:lnTo>
                        <a:pt x="417" y="458"/>
                      </a:lnTo>
                      <a:lnTo>
                        <a:pt x="455" y="438"/>
                      </a:lnTo>
                      <a:lnTo>
                        <a:pt x="475" y="404"/>
                      </a:lnTo>
                      <a:lnTo>
                        <a:pt x="494" y="384"/>
                      </a:lnTo>
                      <a:lnTo>
                        <a:pt x="507" y="343"/>
                      </a:lnTo>
                      <a:lnTo>
                        <a:pt x="545" y="303"/>
                      </a:lnTo>
                      <a:lnTo>
                        <a:pt x="545" y="289"/>
                      </a:lnTo>
                      <a:lnTo>
                        <a:pt x="565" y="249"/>
                      </a:lnTo>
                      <a:lnTo>
                        <a:pt x="565" y="228"/>
                      </a:lnTo>
                      <a:lnTo>
                        <a:pt x="584" y="208"/>
                      </a:lnTo>
                      <a:lnTo>
                        <a:pt x="616" y="208"/>
                      </a:lnTo>
                      <a:lnTo>
                        <a:pt x="616" y="18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8" name="Freeform 11"/>
                <p:cNvSpPr>
                  <a:spLocks/>
                </p:cNvSpPr>
                <p:nvPr/>
              </p:nvSpPr>
              <p:spPr bwMode="blackWhite">
                <a:xfrm>
                  <a:off x="2780552" y="2651433"/>
                  <a:ext cx="827309" cy="949833"/>
                </a:xfrm>
                <a:custGeom>
                  <a:avLst/>
                  <a:gdLst>
                    <a:gd name="T0" fmla="*/ 2147483647 w 547"/>
                    <a:gd name="T1" fmla="*/ 2147483647 h 613"/>
                    <a:gd name="T2" fmla="*/ 2147483647 w 547"/>
                    <a:gd name="T3" fmla="*/ 2147483647 h 613"/>
                    <a:gd name="T4" fmla="*/ 2147483647 w 547"/>
                    <a:gd name="T5" fmla="*/ 2147483647 h 613"/>
                    <a:gd name="T6" fmla="*/ 2147483647 w 547"/>
                    <a:gd name="T7" fmla="*/ 2147483647 h 613"/>
                    <a:gd name="T8" fmla="*/ 2147483647 w 547"/>
                    <a:gd name="T9" fmla="*/ 2147483647 h 613"/>
                    <a:gd name="T10" fmla="*/ 2147483647 w 547"/>
                    <a:gd name="T11" fmla="*/ 2147483647 h 613"/>
                    <a:gd name="T12" fmla="*/ 2147483647 w 547"/>
                    <a:gd name="T13" fmla="*/ 2147483647 h 613"/>
                    <a:gd name="T14" fmla="*/ 2147483647 w 547"/>
                    <a:gd name="T15" fmla="*/ 2147483647 h 613"/>
                    <a:gd name="T16" fmla="*/ 2147483647 w 547"/>
                    <a:gd name="T17" fmla="*/ 2147483647 h 613"/>
                    <a:gd name="T18" fmla="*/ 2147483647 w 547"/>
                    <a:gd name="T19" fmla="*/ 2147483647 h 613"/>
                    <a:gd name="T20" fmla="*/ 2147483647 w 547"/>
                    <a:gd name="T21" fmla="*/ 2147483647 h 613"/>
                    <a:gd name="T22" fmla="*/ 2147483647 w 547"/>
                    <a:gd name="T23" fmla="*/ 2147483647 h 613"/>
                    <a:gd name="T24" fmla="*/ 2147483647 w 547"/>
                    <a:gd name="T25" fmla="*/ 2147483647 h 613"/>
                    <a:gd name="T26" fmla="*/ 2147483647 w 547"/>
                    <a:gd name="T27" fmla="*/ 2147483647 h 613"/>
                    <a:gd name="T28" fmla="*/ 2147483647 w 547"/>
                    <a:gd name="T29" fmla="*/ 2147483647 h 613"/>
                    <a:gd name="T30" fmla="*/ 2147483647 w 547"/>
                    <a:gd name="T31" fmla="*/ 2147483647 h 613"/>
                    <a:gd name="T32" fmla="*/ 2147483647 w 547"/>
                    <a:gd name="T33" fmla="*/ 2147483647 h 613"/>
                    <a:gd name="T34" fmla="*/ 2147483647 w 547"/>
                    <a:gd name="T35" fmla="*/ 2147483647 h 613"/>
                    <a:gd name="T36" fmla="*/ 2147483647 w 547"/>
                    <a:gd name="T37" fmla="*/ 2147483647 h 613"/>
                    <a:gd name="T38" fmla="*/ 2147483647 w 547"/>
                    <a:gd name="T39" fmla="*/ 2147483647 h 613"/>
                    <a:gd name="T40" fmla="*/ 2147483647 w 547"/>
                    <a:gd name="T41" fmla="*/ 2147483647 h 613"/>
                    <a:gd name="T42" fmla="*/ 2147483647 w 547"/>
                    <a:gd name="T43" fmla="*/ 2147483647 h 613"/>
                    <a:gd name="T44" fmla="*/ 2147483647 w 547"/>
                    <a:gd name="T45" fmla="*/ 2147483647 h 613"/>
                    <a:gd name="T46" fmla="*/ 2147483647 w 547"/>
                    <a:gd name="T47" fmla="*/ 2147483647 h 613"/>
                    <a:gd name="T48" fmla="*/ 2147483647 w 547"/>
                    <a:gd name="T49" fmla="*/ 2147483647 h 613"/>
                    <a:gd name="T50" fmla="*/ 2147483647 w 547"/>
                    <a:gd name="T51" fmla="*/ 2147483647 h 613"/>
                    <a:gd name="T52" fmla="*/ 2147483647 w 547"/>
                    <a:gd name="T53" fmla="*/ 2147483647 h 613"/>
                    <a:gd name="T54" fmla="*/ 2147483647 w 547"/>
                    <a:gd name="T55" fmla="*/ 2147483647 h 613"/>
                    <a:gd name="T56" fmla="*/ 2147483647 w 547"/>
                    <a:gd name="T57" fmla="*/ 2147483647 h 613"/>
                    <a:gd name="T58" fmla="*/ 2147483647 w 547"/>
                    <a:gd name="T59" fmla="*/ 2147483647 h 613"/>
                    <a:gd name="T60" fmla="*/ 2147483647 w 547"/>
                    <a:gd name="T61" fmla="*/ 2147483647 h 613"/>
                    <a:gd name="T62" fmla="*/ 2147483647 w 547"/>
                    <a:gd name="T63" fmla="*/ 2147483647 h 613"/>
                    <a:gd name="T64" fmla="*/ 2147483647 w 547"/>
                    <a:gd name="T65" fmla="*/ 2147483647 h 613"/>
                    <a:gd name="T66" fmla="*/ 2147483647 w 547"/>
                    <a:gd name="T67" fmla="*/ 2147483647 h 613"/>
                    <a:gd name="T68" fmla="*/ 2147483647 w 547"/>
                    <a:gd name="T69" fmla="*/ 2147483647 h 613"/>
                    <a:gd name="T70" fmla="*/ 2147483647 w 547"/>
                    <a:gd name="T71" fmla="*/ 2147483647 h 613"/>
                    <a:gd name="T72" fmla="*/ 2147483647 w 547"/>
                    <a:gd name="T73" fmla="*/ 2147483647 h 613"/>
                    <a:gd name="T74" fmla="*/ 2147483647 w 547"/>
                    <a:gd name="T75" fmla="*/ 0 h 613"/>
                    <a:gd name="T76" fmla="*/ 2147483647 w 547"/>
                    <a:gd name="T77" fmla="*/ 2147483647 h 613"/>
                    <a:gd name="T78" fmla="*/ 2147483647 w 547"/>
                    <a:gd name="T79" fmla="*/ 2147483647 h 613"/>
                    <a:gd name="T80" fmla="*/ 2147483647 w 547"/>
                    <a:gd name="T81" fmla="*/ 2147483647 h 613"/>
                    <a:gd name="T82" fmla="*/ 2147483647 w 547"/>
                    <a:gd name="T83" fmla="*/ 0 h 613"/>
                    <a:gd name="T84" fmla="*/ 2147483647 w 547"/>
                    <a:gd name="T85" fmla="*/ 2147483647 h 613"/>
                    <a:gd name="T86" fmla="*/ 2147483647 w 547"/>
                    <a:gd name="T87" fmla="*/ 2147483647 h 613"/>
                    <a:gd name="T88" fmla="*/ 2147483647 w 547"/>
                    <a:gd name="T89" fmla="*/ 2147483647 h 613"/>
                    <a:gd name="T90" fmla="*/ 2147483647 w 547"/>
                    <a:gd name="T91" fmla="*/ 2147483647 h 613"/>
                    <a:gd name="T92" fmla="*/ 2147483647 w 547"/>
                    <a:gd name="T93" fmla="*/ 2147483647 h 613"/>
                    <a:gd name="T94" fmla="*/ 2147483647 w 547"/>
                    <a:gd name="T95" fmla="*/ 2147483647 h 613"/>
                    <a:gd name="T96" fmla="*/ 2147483647 w 547"/>
                    <a:gd name="T97" fmla="*/ 2147483647 h 613"/>
                    <a:gd name="T98" fmla="*/ 2147483647 w 547"/>
                    <a:gd name="T99" fmla="*/ 2147483647 h 613"/>
                    <a:gd name="T100" fmla="*/ 2147483647 w 547"/>
                    <a:gd name="T101" fmla="*/ 2147483647 h 613"/>
                    <a:gd name="T102" fmla="*/ 2147483647 w 547"/>
                    <a:gd name="T103" fmla="*/ 2147483647 h 613"/>
                    <a:gd name="T104" fmla="*/ 2147483647 w 547"/>
                    <a:gd name="T105" fmla="*/ 2147483647 h 613"/>
                    <a:gd name="T106" fmla="*/ 2147483647 w 547"/>
                    <a:gd name="T107" fmla="*/ 2147483647 h 613"/>
                    <a:gd name="T108" fmla="*/ 0 w 547"/>
                    <a:gd name="T109" fmla="*/ 2147483647 h 613"/>
                    <a:gd name="T110" fmla="*/ 2147483647 w 547"/>
                    <a:gd name="T111" fmla="*/ 2147483647 h 613"/>
                    <a:gd name="T112" fmla="*/ 2147483647 w 547"/>
                    <a:gd name="T113" fmla="*/ 2147483647 h 613"/>
                    <a:gd name="T114" fmla="*/ 2147483647 w 547"/>
                    <a:gd name="T115" fmla="*/ 2147483647 h 613"/>
                    <a:gd name="T116" fmla="*/ 2147483647 w 547"/>
                    <a:gd name="T117" fmla="*/ 2147483647 h 61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547"/>
                    <a:gd name="T178" fmla="*/ 0 h 613"/>
                    <a:gd name="T179" fmla="*/ 547 w 547"/>
                    <a:gd name="T180" fmla="*/ 613 h 61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547" h="613">
                      <a:moveTo>
                        <a:pt x="38" y="424"/>
                      </a:moveTo>
                      <a:lnTo>
                        <a:pt x="70" y="403"/>
                      </a:lnTo>
                      <a:lnTo>
                        <a:pt x="90" y="383"/>
                      </a:lnTo>
                      <a:lnTo>
                        <a:pt x="147" y="383"/>
                      </a:lnTo>
                      <a:lnTo>
                        <a:pt x="179" y="403"/>
                      </a:lnTo>
                      <a:lnTo>
                        <a:pt x="217" y="403"/>
                      </a:lnTo>
                      <a:lnTo>
                        <a:pt x="256" y="424"/>
                      </a:lnTo>
                      <a:lnTo>
                        <a:pt x="288" y="424"/>
                      </a:lnTo>
                      <a:lnTo>
                        <a:pt x="327" y="457"/>
                      </a:lnTo>
                      <a:lnTo>
                        <a:pt x="346" y="457"/>
                      </a:lnTo>
                      <a:lnTo>
                        <a:pt x="398" y="477"/>
                      </a:lnTo>
                      <a:lnTo>
                        <a:pt x="398" y="498"/>
                      </a:lnTo>
                      <a:lnTo>
                        <a:pt x="378" y="517"/>
                      </a:lnTo>
                      <a:lnTo>
                        <a:pt x="365" y="558"/>
                      </a:lnTo>
                      <a:lnTo>
                        <a:pt x="378" y="571"/>
                      </a:lnTo>
                      <a:lnTo>
                        <a:pt x="378" y="591"/>
                      </a:lnTo>
                      <a:lnTo>
                        <a:pt x="398" y="612"/>
                      </a:lnTo>
                      <a:lnTo>
                        <a:pt x="417" y="591"/>
                      </a:lnTo>
                      <a:lnTo>
                        <a:pt x="436" y="558"/>
                      </a:lnTo>
                      <a:lnTo>
                        <a:pt x="436" y="498"/>
                      </a:lnTo>
                      <a:lnTo>
                        <a:pt x="455" y="457"/>
                      </a:lnTo>
                      <a:lnTo>
                        <a:pt x="455" y="322"/>
                      </a:lnTo>
                      <a:lnTo>
                        <a:pt x="475" y="289"/>
                      </a:lnTo>
                      <a:lnTo>
                        <a:pt x="475" y="309"/>
                      </a:lnTo>
                      <a:lnTo>
                        <a:pt x="488" y="309"/>
                      </a:lnTo>
                      <a:lnTo>
                        <a:pt x="526" y="228"/>
                      </a:lnTo>
                      <a:lnTo>
                        <a:pt x="546" y="208"/>
                      </a:lnTo>
                      <a:lnTo>
                        <a:pt x="488" y="194"/>
                      </a:lnTo>
                      <a:lnTo>
                        <a:pt x="488" y="174"/>
                      </a:lnTo>
                      <a:lnTo>
                        <a:pt x="475" y="154"/>
                      </a:lnTo>
                      <a:lnTo>
                        <a:pt x="475" y="134"/>
                      </a:lnTo>
                      <a:lnTo>
                        <a:pt x="488" y="134"/>
                      </a:lnTo>
                      <a:lnTo>
                        <a:pt x="507" y="113"/>
                      </a:lnTo>
                      <a:lnTo>
                        <a:pt x="507" y="80"/>
                      </a:lnTo>
                      <a:lnTo>
                        <a:pt x="488" y="40"/>
                      </a:lnTo>
                      <a:lnTo>
                        <a:pt x="475" y="40"/>
                      </a:lnTo>
                      <a:lnTo>
                        <a:pt x="475" y="20"/>
                      </a:lnTo>
                      <a:lnTo>
                        <a:pt x="398" y="0"/>
                      </a:lnTo>
                      <a:lnTo>
                        <a:pt x="365" y="40"/>
                      </a:lnTo>
                      <a:lnTo>
                        <a:pt x="327" y="40"/>
                      </a:lnTo>
                      <a:lnTo>
                        <a:pt x="327" y="20"/>
                      </a:lnTo>
                      <a:lnTo>
                        <a:pt x="307" y="0"/>
                      </a:lnTo>
                      <a:lnTo>
                        <a:pt x="269" y="40"/>
                      </a:lnTo>
                      <a:lnTo>
                        <a:pt x="198" y="60"/>
                      </a:lnTo>
                      <a:lnTo>
                        <a:pt x="160" y="40"/>
                      </a:lnTo>
                      <a:lnTo>
                        <a:pt x="147" y="60"/>
                      </a:lnTo>
                      <a:lnTo>
                        <a:pt x="147" y="80"/>
                      </a:lnTo>
                      <a:lnTo>
                        <a:pt x="160" y="93"/>
                      </a:lnTo>
                      <a:lnTo>
                        <a:pt x="160" y="113"/>
                      </a:lnTo>
                      <a:lnTo>
                        <a:pt x="128" y="154"/>
                      </a:lnTo>
                      <a:lnTo>
                        <a:pt x="90" y="154"/>
                      </a:lnTo>
                      <a:lnTo>
                        <a:pt x="51" y="134"/>
                      </a:lnTo>
                      <a:lnTo>
                        <a:pt x="38" y="134"/>
                      </a:lnTo>
                      <a:lnTo>
                        <a:pt x="19" y="154"/>
                      </a:lnTo>
                      <a:lnTo>
                        <a:pt x="0" y="194"/>
                      </a:lnTo>
                      <a:lnTo>
                        <a:pt x="19" y="248"/>
                      </a:lnTo>
                      <a:lnTo>
                        <a:pt x="19" y="322"/>
                      </a:lnTo>
                      <a:lnTo>
                        <a:pt x="38" y="363"/>
                      </a:lnTo>
                      <a:lnTo>
                        <a:pt x="38" y="42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9" name="Freeform 12"/>
                <p:cNvSpPr>
                  <a:spLocks/>
                </p:cNvSpPr>
                <p:nvPr/>
              </p:nvSpPr>
              <p:spPr bwMode="blackWhite">
                <a:xfrm>
                  <a:off x="3485338" y="2778294"/>
                  <a:ext cx="168064" cy="197340"/>
                </a:xfrm>
                <a:custGeom>
                  <a:avLst/>
                  <a:gdLst>
                    <a:gd name="T0" fmla="*/ 2147483647 w 111"/>
                    <a:gd name="T1" fmla="*/ 2147483647 h 129"/>
                    <a:gd name="T2" fmla="*/ 2147483647 w 111"/>
                    <a:gd name="T3" fmla="*/ 2147483647 h 129"/>
                    <a:gd name="T4" fmla="*/ 2147483647 w 111"/>
                    <a:gd name="T5" fmla="*/ 2147483647 h 129"/>
                    <a:gd name="T6" fmla="*/ 2147483647 w 111"/>
                    <a:gd name="T7" fmla="*/ 0 h 129"/>
                    <a:gd name="T8" fmla="*/ 2147483647 w 111"/>
                    <a:gd name="T9" fmla="*/ 0 h 129"/>
                    <a:gd name="T10" fmla="*/ 2147483647 w 111"/>
                    <a:gd name="T11" fmla="*/ 2147483647 h 129"/>
                    <a:gd name="T12" fmla="*/ 2147483647 w 111"/>
                    <a:gd name="T13" fmla="*/ 2147483647 h 129"/>
                    <a:gd name="T14" fmla="*/ 0 w 111"/>
                    <a:gd name="T15" fmla="*/ 2147483647 h 129"/>
                    <a:gd name="T16" fmla="*/ 0 w 111"/>
                    <a:gd name="T17" fmla="*/ 2147483647 h 129"/>
                    <a:gd name="T18" fmla="*/ 2147483647 w 111"/>
                    <a:gd name="T19" fmla="*/ 2147483647 h 129"/>
                    <a:gd name="T20" fmla="*/ 2147483647 w 111"/>
                    <a:gd name="T21" fmla="*/ 2147483647 h 129"/>
                    <a:gd name="T22" fmla="*/ 2147483647 w 111"/>
                    <a:gd name="T23" fmla="*/ 2147483647 h 12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11"/>
                    <a:gd name="T37" fmla="*/ 0 h 129"/>
                    <a:gd name="T38" fmla="*/ 111 w 111"/>
                    <a:gd name="T39" fmla="*/ 129 h 12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11" h="129">
                      <a:moveTo>
                        <a:pt x="71" y="128"/>
                      </a:moveTo>
                      <a:lnTo>
                        <a:pt x="110" y="53"/>
                      </a:lnTo>
                      <a:lnTo>
                        <a:pt x="90" y="33"/>
                      </a:lnTo>
                      <a:lnTo>
                        <a:pt x="51" y="0"/>
                      </a:lnTo>
                      <a:lnTo>
                        <a:pt x="32" y="0"/>
                      </a:lnTo>
                      <a:lnTo>
                        <a:pt x="32" y="33"/>
                      </a:lnTo>
                      <a:lnTo>
                        <a:pt x="12" y="53"/>
                      </a:lnTo>
                      <a:lnTo>
                        <a:pt x="0" y="53"/>
                      </a:lnTo>
                      <a:lnTo>
                        <a:pt x="0" y="74"/>
                      </a:lnTo>
                      <a:lnTo>
                        <a:pt x="12" y="94"/>
                      </a:lnTo>
                      <a:lnTo>
                        <a:pt x="12" y="114"/>
                      </a:lnTo>
                      <a:lnTo>
                        <a:pt x="71" y="128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0" name="Freeform 13"/>
                <p:cNvSpPr>
                  <a:spLocks/>
                </p:cNvSpPr>
                <p:nvPr/>
              </p:nvSpPr>
              <p:spPr bwMode="blackWhite">
                <a:xfrm>
                  <a:off x="3503770" y="2683961"/>
                  <a:ext cx="285167" cy="177823"/>
                </a:xfrm>
                <a:custGeom>
                  <a:avLst/>
                  <a:gdLst>
                    <a:gd name="T0" fmla="*/ 2147483647 w 188"/>
                    <a:gd name="T1" fmla="*/ 2147483647 h 115"/>
                    <a:gd name="T2" fmla="*/ 2147483647 w 188"/>
                    <a:gd name="T3" fmla="*/ 2147483647 h 115"/>
                    <a:gd name="T4" fmla="*/ 2147483647 w 188"/>
                    <a:gd name="T5" fmla="*/ 2147483647 h 115"/>
                    <a:gd name="T6" fmla="*/ 2147483647 w 188"/>
                    <a:gd name="T7" fmla="*/ 0 h 115"/>
                    <a:gd name="T8" fmla="*/ 2147483647 w 188"/>
                    <a:gd name="T9" fmla="*/ 0 h 115"/>
                    <a:gd name="T10" fmla="*/ 2147483647 w 188"/>
                    <a:gd name="T11" fmla="*/ 2147483647 h 115"/>
                    <a:gd name="T12" fmla="*/ 2147483647 w 188"/>
                    <a:gd name="T13" fmla="*/ 2147483647 h 115"/>
                    <a:gd name="T14" fmla="*/ 2147483647 w 188"/>
                    <a:gd name="T15" fmla="*/ 0 h 115"/>
                    <a:gd name="T16" fmla="*/ 2147483647 w 188"/>
                    <a:gd name="T17" fmla="*/ 0 h 115"/>
                    <a:gd name="T18" fmla="*/ 0 w 188"/>
                    <a:gd name="T19" fmla="*/ 2147483647 h 115"/>
                    <a:gd name="T20" fmla="*/ 2147483647 w 188"/>
                    <a:gd name="T21" fmla="*/ 2147483647 h 115"/>
                    <a:gd name="T22" fmla="*/ 2147483647 w 188"/>
                    <a:gd name="T23" fmla="*/ 2147483647 h 115"/>
                    <a:gd name="T24" fmla="*/ 2147483647 w 188"/>
                    <a:gd name="T25" fmla="*/ 2147483647 h 115"/>
                    <a:gd name="T26" fmla="*/ 2147483647 w 188"/>
                    <a:gd name="T27" fmla="*/ 2147483647 h 11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88"/>
                    <a:gd name="T43" fmla="*/ 0 h 115"/>
                    <a:gd name="T44" fmla="*/ 188 w 188"/>
                    <a:gd name="T45" fmla="*/ 115 h 11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88" h="115">
                      <a:moveTo>
                        <a:pt x="96" y="114"/>
                      </a:moveTo>
                      <a:lnTo>
                        <a:pt x="128" y="93"/>
                      </a:lnTo>
                      <a:lnTo>
                        <a:pt x="148" y="59"/>
                      </a:lnTo>
                      <a:lnTo>
                        <a:pt x="187" y="0"/>
                      </a:lnTo>
                      <a:lnTo>
                        <a:pt x="128" y="0"/>
                      </a:lnTo>
                      <a:lnTo>
                        <a:pt x="109" y="20"/>
                      </a:lnTo>
                      <a:lnTo>
                        <a:pt x="96" y="20"/>
                      </a:lnTo>
                      <a:lnTo>
                        <a:pt x="58" y="0"/>
                      </a:lnTo>
                      <a:lnTo>
                        <a:pt x="19" y="0"/>
                      </a:lnTo>
                      <a:lnTo>
                        <a:pt x="0" y="20"/>
                      </a:lnTo>
                      <a:lnTo>
                        <a:pt x="19" y="59"/>
                      </a:lnTo>
                      <a:lnTo>
                        <a:pt x="38" y="59"/>
                      </a:lnTo>
                      <a:lnTo>
                        <a:pt x="77" y="93"/>
                      </a:lnTo>
                      <a:lnTo>
                        <a:pt x="96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1" name="Freeform 14"/>
                <p:cNvSpPr>
                  <a:spLocks/>
                </p:cNvSpPr>
                <p:nvPr/>
              </p:nvSpPr>
              <p:spPr bwMode="blackWhite">
                <a:xfrm>
                  <a:off x="3241373" y="2506139"/>
                  <a:ext cx="583345" cy="209267"/>
                </a:xfrm>
                <a:custGeom>
                  <a:avLst/>
                  <a:gdLst>
                    <a:gd name="T0" fmla="*/ 2147483647 w 387"/>
                    <a:gd name="T1" fmla="*/ 0 h 136"/>
                    <a:gd name="T2" fmla="*/ 2147483647 w 387"/>
                    <a:gd name="T3" fmla="*/ 0 h 136"/>
                    <a:gd name="T4" fmla="*/ 2147483647 w 387"/>
                    <a:gd name="T5" fmla="*/ 2147483647 h 136"/>
                    <a:gd name="T6" fmla="*/ 2147483647 w 387"/>
                    <a:gd name="T7" fmla="*/ 2147483647 h 136"/>
                    <a:gd name="T8" fmla="*/ 2147483647 w 387"/>
                    <a:gd name="T9" fmla="*/ 2147483647 h 136"/>
                    <a:gd name="T10" fmla="*/ 2147483647 w 387"/>
                    <a:gd name="T11" fmla="*/ 2147483647 h 136"/>
                    <a:gd name="T12" fmla="*/ 2147483647 w 387"/>
                    <a:gd name="T13" fmla="*/ 2147483647 h 136"/>
                    <a:gd name="T14" fmla="*/ 2147483647 w 387"/>
                    <a:gd name="T15" fmla="*/ 2147483647 h 136"/>
                    <a:gd name="T16" fmla="*/ 2147483647 w 387"/>
                    <a:gd name="T17" fmla="*/ 2147483647 h 136"/>
                    <a:gd name="T18" fmla="*/ 2147483647 w 387"/>
                    <a:gd name="T19" fmla="*/ 2147483647 h 136"/>
                    <a:gd name="T20" fmla="*/ 2147483647 w 387"/>
                    <a:gd name="T21" fmla="*/ 2147483647 h 136"/>
                    <a:gd name="T22" fmla="*/ 2147483647 w 387"/>
                    <a:gd name="T23" fmla="*/ 2147483647 h 136"/>
                    <a:gd name="T24" fmla="*/ 2147483647 w 387"/>
                    <a:gd name="T25" fmla="*/ 2147483647 h 136"/>
                    <a:gd name="T26" fmla="*/ 2147483647 w 387"/>
                    <a:gd name="T27" fmla="*/ 2147483647 h 136"/>
                    <a:gd name="T28" fmla="*/ 2147483647 w 387"/>
                    <a:gd name="T29" fmla="*/ 2147483647 h 136"/>
                    <a:gd name="T30" fmla="*/ 2147483647 w 387"/>
                    <a:gd name="T31" fmla="*/ 2147483647 h 136"/>
                    <a:gd name="T32" fmla="*/ 2147483647 w 387"/>
                    <a:gd name="T33" fmla="*/ 2147483647 h 136"/>
                    <a:gd name="T34" fmla="*/ 0 w 387"/>
                    <a:gd name="T35" fmla="*/ 2147483647 h 136"/>
                    <a:gd name="T36" fmla="*/ 2147483647 w 387"/>
                    <a:gd name="T37" fmla="*/ 2147483647 h 136"/>
                    <a:gd name="T38" fmla="*/ 2147483647 w 387"/>
                    <a:gd name="T39" fmla="*/ 2147483647 h 136"/>
                    <a:gd name="T40" fmla="*/ 2147483647 w 387"/>
                    <a:gd name="T41" fmla="*/ 2147483647 h 136"/>
                    <a:gd name="T42" fmla="*/ 2147483647 w 387"/>
                    <a:gd name="T43" fmla="*/ 2147483647 h 136"/>
                    <a:gd name="T44" fmla="*/ 2147483647 w 387"/>
                    <a:gd name="T45" fmla="*/ 2147483647 h 136"/>
                    <a:gd name="T46" fmla="*/ 2147483647 w 387"/>
                    <a:gd name="T47" fmla="*/ 2147483647 h 136"/>
                    <a:gd name="T48" fmla="*/ 2147483647 w 387"/>
                    <a:gd name="T49" fmla="*/ 2147483647 h 136"/>
                    <a:gd name="T50" fmla="*/ 2147483647 w 387"/>
                    <a:gd name="T51" fmla="*/ 2147483647 h 136"/>
                    <a:gd name="T52" fmla="*/ 2147483647 w 387"/>
                    <a:gd name="T53" fmla="*/ 2147483647 h 136"/>
                    <a:gd name="T54" fmla="*/ 2147483647 w 387"/>
                    <a:gd name="T55" fmla="*/ 2147483647 h 136"/>
                    <a:gd name="T56" fmla="*/ 2147483647 w 387"/>
                    <a:gd name="T57" fmla="*/ 2147483647 h 136"/>
                    <a:gd name="T58" fmla="*/ 2147483647 w 387"/>
                    <a:gd name="T59" fmla="*/ 2147483647 h 136"/>
                    <a:gd name="T60" fmla="*/ 2147483647 w 387"/>
                    <a:gd name="T61" fmla="*/ 2147483647 h 136"/>
                    <a:gd name="T62" fmla="*/ 2147483647 w 387"/>
                    <a:gd name="T63" fmla="*/ 2147483647 h 136"/>
                    <a:gd name="T64" fmla="*/ 2147483647 w 387"/>
                    <a:gd name="T65" fmla="*/ 0 h 1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87"/>
                    <a:gd name="T100" fmla="*/ 0 h 136"/>
                    <a:gd name="T101" fmla="*/ 387 w 387"/>
                    <a:gd name="T102" fmla="*/ 136 h 1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87" h="136">
                      <a:moveTo>
                        <a:pt x="386" y="0"/>
                      </a:moveTo>
                      <a:lnTo>
                        <a:pt x="366" y="0"/>
                      </a:lnTo>
                      <a:lnTo>
                        <a:pt x="328" y="40"/>
                      </a:lnTo>
                      <a:lnTo>
                        <a:pt x="289" y="40"/>
                      </a:lnTo>
                      <a:lnTo>
                        <a:pt x="276" y="40"/>
                      </a:lnTo>
                      <a:lnTo>
                        <a:pt x="257" y="60"/>
                      </a:lnTo>
                      <a:lnTo>
                        <a:pt x="218" y="60"/>
                      </a:lnTo>
                      <a:lnTo>
                        <a:pt x="238" y="20"/>
                      </a:lnTo>
                      <a:lnTo>
                        <a:pt x="218" y="20"/>
                      </a:lnTo>
                      <a:lnTo>
                        <a:pt x="180" y="40"/>
                      </a:lnTo>
                      <a:lnTo>
                        <a:pt x="167" y="60"/>
                      </a:lnTo>
                      <a:lnTo>
                        <a:pt x="109" y="40"/>
                      </a:lnTo>
                      <a:lnTo>
                        <a:pt x="90" y="40"/>
                      </a:lnTo>
                      <a:lnTo>
                        <a:pt x="70" y="20"/>
                      </a:lnTo>
                      <a:lnTo>
                        <a:pt x="38" y="20"/>
                      </a:lnTo>
                      <a:lnTo>
                        <a:pt x="19" y="40"/>
                      </a:lnTo>
                      <a:lnTo>
                        <a:pt x="19" y="74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35"/>
                      </a:lnTo>
                      <a:lnTo>
                        <a:pt x="57" y="135"/>
                      </a:lnTo>
                      <a:lnTo>
                        <a:pt x="90" y="94"/>
                      </a:lnTo>
                      <a:lnTo>
                        <a:pt x="167" y="114"/>
                      </a:lnTo>
                      <a:lnTo>
                        <a:pt x="167" y="135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8" y="114"/>
                      </a:lnTo>
                      <a:lnTo>
                        <a:pt x="276" y="135"/>
                      </a:lnTo>
                      <a:lnTo>
                        <a:pt x="289" y="135"/>
                      </a:lnTo>
                      <a:lnTo>
                        <a:pt x="308" y="114"/>
                      </a:lnTo>
                      <a:lnTo>
                        <a:pt x="366" y="114"/>
                      </a:lnTo>
                      <a:lnTo>
                        <a:pt x="386" y="60"/>
                      </a:lnTo>
                      <a:lnTo>
                        <a:pt x="386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2" name="Freeform 15"/>
                <p:cNvSpPr>
                  <a:spLocks/>
                </p:cNvSpPr>
                <p:nvPr/>
              </p:nvSpPr>
              <p:spPr bwMode="blackWhite">
                <a:xfrm>
                  <a:off x="3400762" y="2392289"/>
                  <a:ext cx="417450" cy="209267"/>
                </a:xfrm>
                <a:custGeom>
                  <a:avLst/>
                  <a:gdLst>
                    <a:gd name="T0" fmla="*/ 2147483647 w 277"/>
                    <a:gd name="T1" fmla="*/ 2147483647 h 136"/>
                    <a:gd name="T2" fmla="*/ 2147483647 w 277"/>
                    <a:gd name="T3" fmla="*/ 2147483647 h 136"/>
                    <a:gd name="T4" fmla="*/ 2147483647 w 277"/>
                    <a:gd name="T5" fmla="*/ 2147483647 h 136"/>
                    <a:gd name="T6" fmla="*/ 2147483647 w 277"/>
                    <a:gd name="T7" fmla="*/ 2147483647 h 136"/>
                    <a:gd name="T8" fmla="*/ 2147483647 w 277"/>
                    <a:gd name="T9" fmla="*/ 2147483647 h 136"/>
                    <a:gd name="T10" fmla="*/ 2147483647 w 277"/>
                    <a:gd name="T11" fmla="*/ 2147483647 h 136"/>
                    <a:gd name="T12" fmla="*/ 2147483647 w 277"/>
                    <a:gd name="T13" fmla="*/ 2147483647 h 136"/>
                    <a:gd name="T14" fmla="*/ 2147483647 w 277"/>
                    <a:gd name="T15" fmla="*/ 2147483647 h 136"/>
                    <a:gd name="T16" fmla="*/ 2147483647 w 277"/>
                    <a:gd name="T17" fmla="*/ 2147483647 h 136"/>
                    <a:gd name="T18" fmla="*/ 2147483647 w 277"/>
                    <a:gd name="T19" fmla="*/ 0 h 136"/>
                    <a:gd name="T20" fmla="*/ 2147483647 w 277"/>
                    <a:gd name="T21" fmla="*/ 2147483647 h 136"/>
                    <a:gd name="T22" fmla="*/ 2147483647 w 277"/>
                    <a:gd name="T23" fmla="*/ 2147483647 h 136"/>
                    <a:gd name="T24" fmla="*/ 2147483647 w 277"/>
                    <a:gd name="T25" fmla="*/ 2147483647 h 136"/>
                    <a:gd name="T26" fmla="*/ 2147483647 w 277"/>
                    <a:gd name="T27" fmla="*/ 2147483647 h 136"/>
                    <a:gd name="T28" fmla="*/ 0 w 277"/>
                    <a:gd name="T29" fmla="*/ 2147483647 h 136"/>
                    <a:gd name="T30" fmla="*/ 2147483647 w 277"/>
                    <a:gd name="T31" fmla="*/ 2147483647 h 136"/>
                    <a:gd name="T32" fmla="*/ 2147483647 w 277"/>
                    <a:gd name="T33" fmla="*/ 2147483647 h 136"/>
                    <a:gd name="T34" fmla="*/ 2147483647 w 277"/>
                    <a:gd name="T35" fmla="*/ 2147483647 h 136"/>
                    <a:gd name="T36" fmla="*/ 2147483647 w 277"/>
                    <a:gd name="T37" fmla="*/ 2147483647 h 136"/>
                    <a:gd name="T38" fmla="*/ 2147483647 w 277"/>
                    <a:gd name="T39" fmla="*/ 2147483647 h 136"/>
                    <a:gd name="T40" fmla="*/ 2147483647 w 277"/>
                    <a:gd name="T41" fmla="*/ 2147483647 h 136"/>
                    <a:gd name="T42" fmla="*/ 2147483647 w 277"/>
                    <a:gd name="T43" fmla="*/ 2147483647 h 136"/>
                    <a:gd name="T44" fmla="*/ 2147483647 w 277"/>
                    <a:gd name="T45" fmla="*/ 2147483647 h 136"/>
                    <a:gd name="T46" fmla="*/ 2147483647 w 277"/>
                    <a:gd name="T47" fmla="*/ 2147483647 h 136"/>
                    <a:gd name="T48" fmla="*/ 2147483647 w 277"/>
                    <a:gd name="T49" fmla="*/ 2147483647 h 1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77"/>
                    <a:gd name="T76" fmla="*/ 0 h 136"/>
                    <a:gd name="T77" fmla="*/ 277 w 277"/>
                    <a:gd name="T78" fmla="*/ 136 h 1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77" h="136">
                      <a:moveTo>
                        <a:pt x="276" y="74"/>
                      </a:moveTo>
                      <a:lnTo>
                        <a:pt x="256" y="33"/>
                      </a:lnTo>
                      <a:lnTo>
                        <a:pt x="198" y="33"/>
                      </a:lnTo>
                      <a:lnTo>
                        <a:pt x="179" y="20"/>
                      </a:lnTo>
                      <a:lnTo>
                        <a:pt x="166" y="20"/>
                      </a:lnTo>
                      <a:lnTo>
                        <a:pt x="166" y="33"/>
                      </a:lnTo>
                      <a:lnTo>
                        <a:pt x="166" y="54"/>
                      </a:lnTo>
                      <a:lnTo>
                        <a:pt x="89" y="54"/>
                      </a:lnTo>
                      <a:lnTo>
                        <a:pt x="128" y="20"/>
                      </a:lnTo>
                      <a:lnTo>
                        <a:pt x="109" y="0"/>
                      </a:lnTo>
                      <a:lnTo>
                        <a:pt x="89" y="20"/>
                      </a:lnTo>
                      <a:lnTo>
                        <a:pt x="57" y="33"/>
                      </a:lnTo>
                      <a:lnTo>
                        <a:pt x="38" y="33"/>
                      </a:lnTo>
                      <a:lnTo>
                        <a:pt x="19" y="94"/>
                      </a:lnTo>
                      <a:lnTo>
                        <a:pt x="0" y="114"/>
                      </a:lnTo>
                      <a:lnTo>
                        <a:pt x="57" y="135"/>
                      </a:lnTo>
                      <a:lnTo>
                        <a:pt x="70" y="114"/>
                      </a:lnTo>
                      <a:lnTo>
                        <a:pt x="109" y="94"/>
                      </a:lnTo>
                      <a:lnTo>
                        <a:pt x="128" y="94"/>
                      </a:lnTo>
                      <a:lnTo>
                        <a:pt x="109" y="135"/>
                      </a:lnTo>
                      <a:lnTo>
                        <a:pt x="147" y="135"/>
                      </a:lnTo>
                      <a:lnTo>
                        <a:pt x="166" y="114"/>
                      </a:lnTo>
                      <a:lnTo>
                        <a:pt x="218" y="114"/>
                      </a:lnTo>
                      <a:lnTo>
                        <a:pt x="256" y="74"/>
                      </a:lnTo>
                      <a:lnTo>
                        <a:pt x="276" y="7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3" name="Freeform 17"/>
                <p:cNvSpPr>
                  <a:spLocks/>
                </p:cNvSpPr>
                <p:nvPr/>
              </p:nvSpPr>
              <p:spPr bwMode="blackWhite">
                <a:xfrm>
                  <a:off x="2809828" y="2116880"/>
                  <a:ext cx="495518" cy="776347"/>
                </a:xfrm>
                <a:custGeom>
                  <a:avLst/>
                  <a:gdLst>
                    <a:gd name="T0" fmla="*/ 2147483647 w 328"/>
                    <a:gd name="T1" fmla="*/ 0 h 500"/>
                    <a:gd name="T2" fmla="*/ 2147483647 w 328"/>
                    <a:gd name="T3" fmla="*/ 2147483647 h 500"/>
                    <a:gd name="T4" fmla="*/ 2147483647 w 328"/>
                    <a:gd name="T5" fmla="*/ 2147483647 h 500"/>
                    <a:gd name="T6" fmla="*/ 2147483647 w 328"/>
                    <a:gd name="T7" fmla="*/ 2147483647 h 500"/>
                    <a:gd name="T8" fmla="*/ 2147483647 w 328"/>
                    <a:gd name="T9" fmla="*/ 2147483647 h 500"/>
                    <a:gd name="T10" fmla="*/ 2147483647 w 328"/>
                    <a:gd name="T11" fmla="*/ 2147483647 h 500"/>
                    <a:gd name="T12" fmla="*/ 2147483647 w 328"/>
                    <a:gd name="T13" fmla="*/ 2147483647 h 500"/>
                    <a:gd name="T14" fmla="*/ 2147483647 w 328"/>
                    <a:gd name="T15" fmla="*/ 2147483647 h 500"/>
                    <a:gd name="T16" fmla="*/ 2147483647 w 328"/>
                    <a:gd name="T17" fmla="*/ 2147483647 h 500"/>
                    <a:gd name="T18" fmla="*/ 2147483647 w 328"/>
                    <a:gd name="T19" fmla="*/ 2147483647 h 500"/>
                    <a:gd name="T20" fmla="*/ 2147483647 w 328"/>
                    <a:gd name="T21" fmla="*/ 2147483647 h 500"/>
                    <a:gd name="T22" fmla="*/ 2147483647 w 328"/>
                    <a:gd name="T23" fmla="*/ 2147483647 h 500"/>
                    <a:gd name="T24" fmla="*/ 0 w 328"/>
                    <a:gd name="T25" fmla="*/ 2147483647 h 500"/>
                    <a:gd name="T26" fmla="*/ 2147483647 w 328"/>
                    <a:gd name="T27" fmla="*/ 2147483647 h 500"/>
                    <a:gd name="T28" fmla="*/ 2147483647 w 328"/>
                    <a:gd name="T29" fmla="*/ 2147483647 h 500"/>
                    <a:gd name="T30" fmla="*/ 2147483647 w 328"/>
                    <a:gd name="T31" fmla="*/ 2147483647 h 500"/>
                    <a:gd name="T32" fmla="*/ 2147483647 w 328"/>
                    <a:gd name="T33" fmla="*/ 2147483647 h 500"/>
                    <a:gd name="T34" fmla="*/ 2147483647 w 328"/>
                    <a:gd name="T35" fmla="*/ 2147483647 h 500"/>
                    <a:gd name="T36" fmla="*/ 2147483647 w 328"/>
                    <a:gd name="T37" fmla="*/ 2147483647 h 500"/>
                    <a:gd name="T38" fmla="*/ 2147483647 w 328"/>
                    <a:gd name="T39" fmla="*/ 2147483647 h 500"/>
                    <a:gd name="T40" fmla="*/ 2147483647 w 328"/>
                    <a:gd name="T41" fmla="*/ 2147483647 h 500"/>
                    <a:gd name="T42" fmla="*/ 2147483647 w 328"/>
                    <a:gd name="T43" fmla="*/ 2147483647 h 500"/>
                    <a:gd name="T44" fmla="*/ 2147483647 w 328"/>
                    <a:gd name="T45" fmla="*/ 2147483647 h 500"/>
                    <a:gd name="T46" fmla="*/ 2147483647 w 328"/>
                    <a:gd name="T47" fmla="*/ 2147483647 h 500"/>
                    <a:gd name="T48" fmla="*/ 2147483647 w 328"/>
                    <a:gd name="T49" fmla="*/ 2147483647 h 500"/>
                    <a:gd name="T50" fmla="*/ 2147483647 w 328"/>
                    <a:gd name="T51" fmla="*/ 2147483647 h 500"/>
                    <a:gd name="T52" fmla="*/ 2147483647 w 328"/>
                    <a:gd name="T53" fmla="*/ 2147483647 h 500"/>
                    <a:gd name="T54" fmla="*/ 2147483647 w 328"/>
                    <a:gd name="T55" fmla="*/ 2147483647 h 500"/>
                    <a:gd name="T56" fmla="*/ 2147483647 w 328"/>
                    <a:gd name="T57" fmla="*/ 2147483647 h 500"/>
                    <a:gd name="T58" fmla="*/ 2147483647 w 328"/>
                    <a:gd name="T59" fmla="*/ 2147483647 h 500"/>
                    <a:gd name="T60" fmla="*/ 2147483647 w 328"/>
                    <a:gd name="T61" fmla="*/ 2147483647 h 500"/>
                    <a:gd name="T62" fmla="*/ 2147483647 w 328"/>
                    <a:gd name="T63" fmla="*/ 2147483647 h 500"/>
                    <a:gd name="T64" fmla="*/ 2147483647 w 328"/>
                    <a:gd name="T65" fmla="*/ 2147483647 h 500"/>
                    <a:gd name="T66" fmla="*/ 2147483647 w 328"/>
                    <a:gd name="T67" fmla="*/ 2147483647 h 500"/>
                    <a:gd name="T68" fmla="*/ 2147483647 w 328"/>
                    <a:gd name="T69" fmla="*/ 0 h 500"/>
                    <a:gd name="T70" fmla="*/ 2147483647 w 328"/>
                    <a:gd name="T71" fmla="*/ 0 h 5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28"/>
                    <a:gd name="T109" fmla="*/ 0 h 500"/>
                    <a:gd name="T110" fmla="*/ 328 w 328"/>
                    <a:gd name="T111" fmla="*/ 500 h 5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28" h="500">
                      <a:moveTo>
                        <a:pt x="249" y="0"/>
                      </a:moveTo>
                      <a:lnTo>
                        <a:pt x="237" y="20"/>
                      </a:lnTo>
                      <a:lnTo>
                        <a:pt x="217" y="20"/>
                      </a:lnTo>
                      <a:lnTo>
                        <a:pt x="198" y="40"/>
                      </a:lnTo>
                      <a:lnTo>
                        <a:pt x="179" y="81"/>
                      </a:lnTo>
                      <a:lnTo>
                        <a:pt x="179" y="114"/>
                      </a:lnTo>
                      <a:lnTo>
                        <a:pt x="159" y="175"/>
                      </a:lnTo>
                      <a:lnTo>
                        <a:pt x="159" y="209"/>
                      </a:lnTo>
                      <a:lnTo>
                        <a:pt x="140" y="229"/>
                      </a:lnTo>
                      <a:lnTo>
                        <a:pt x="89" y="249"/>
                      </a:lnTo>
                      <a:lnTo>
                        <a:pt x="51" y="270"/>
                      </a:lnTo>
                      <a:lnTo>
                        <a:pt x="19" y="310"/>
                      </a:lnTo>
                      <a:lnTo>
                        <a:pt x="0" y="385"/>
                      </a:lnTo>
                      <a:lnTo>
                        <a:pt x="19" y="458"/>
                      </a:lnTo>
                      <a:lnTo>
                        <a:pt x="19" y="478"/>
                      </a:lnTo>
                      <a:lnTo>
                        <a:pt x="32" y="478"/>
                      </a:lnTo>
                      <a:lnTo>
                        <a:pt x="70" y="499"/>
                      </a:lnTo>
                      <a:lnTo>
                        <a:pt x="109" y="499"/>
                      </a:lnTo>
                      <a:lnTo>
                        <a:pt x="140" y="458"/>
                      </a:lnTo>
                      <a:lnTo>
                        <a:pt x="140" y="438"/>
                      </a:lnTo>
                      <a:lnTo>
                        <a:pt x="127" y="424"/>
                      </a:lnTo>
                      <a:lnTo>
                        <a:pt x="127" y="405"/>
                      </a:lnTo>
                      <a:lnTo>
                        <a:pt x="140" y="385"/>
                      </a:lnTo>
                      <a:lnTo>
                        <a:pt x="179" y="405"/>
                      </a:lnTo>
                      <a:lnTo>
                        <a:pt x="249" y="385"/>
                      </a:lnTo>
                      <a:lnTo>
                        <a:pt x="288" y="344"/>
                      </a:lnTo>
                      <a:lnTo>
                        <a:pt x="307" y="324"/>
                      </a:lnTo>
                      <a:lnTo>
                        <a:pt x="307" y="290"/>
                      </a:lnTo>
                      <a:lnTo>
                        <a:pt x="327" y="270"/>
                      </a:lnTo>
                      <a:lnTo>
                        <a:pt x="327" y="249"/>
                      </a:lnTo>
                      <a:lnTo>
                        <a:pt x="288" y="195"/>
                      </a:lnTo>
                      <a:lnTo>
                        <a:pt x="288" y="155"/>
                      </a:lnTo>
                      <a:lnTo>
                        <a:pt x="269" y="81"/>
                      </a:lnTo>
                      <a:lnTo>
                        <a:pt x="269" y="40"/>
                      </a:lnTo>
                      <a:lnTo>
                        <a:pt x="269" y="0"/>
                      </a:lnTo>
                      <a:lnTo>
                        <a:pt x="249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4" name="Freeform 18"/>
                <p:cNvSpPr>
                  <a:spLocks/>
                </p:cNvSpPr>
                <p:nvPr/>
              </p:nvSpPr>
              <p:spPr bwMode="blackWhite">
                <a:xfrm>
                  <a:off x="2588635" y="1941227"/>
                  <a:ext cx="600693" cy="889113"/>
                </a:xfrm>
                <a:custGeom>
                  <a:avLst/>
                  <a:gdLst>
                    <a:gd name="T0" fmla="*/ 2147483647 w 399"/>
                    <a:gd name="T1" fmla="*/ 0 h 573"/>
                    <a:gd name="T2" fmla="*/ 2147483647 w 399"/>
                    <a:gd name="T3" fmla="*/ 2147483647 h 573"/>
                    <a:gd name="T4" fmla="*/ 2147483647 w 399"/>
                    <a:gd name="T5" fmla="*/ 2147483647 h 573"/>
                    <a:gd name="T6" fmla="*/ 2147483647 w 399"/>
                    <a:gd name="T7" fmla="*/ 2147483647 h 573"/>
                    <a:gd name="T8" fmla="*/ 2147483647 w 399"/>
                    <a:gd name="T9" fmla="*/ 2147483647 h 573"/>
                    <a:gd name="T10" fmla="*/ 2147483647 w 399"/>
                    <a:gd name="T11" fmla="*/ 2147483647 h 573"/>
                    <a:gd name="T12" fmla="*/ 0 w 399"/>
                    <a:gd name="T13" fmla="*/ 2147483647 h 573"/>
                    <a:gd name="T14" fmla="*/ 2147483647 w 399"/>
                    <a:gd name="T15" fmla="*/ 2147483647 h 573"/>
                    <a:gd name="T16" fmla="*/ 2147483647 w 399"/>
                    <a:gd name="T17" fmla="*/ 2147483647 h 573"/>
                    <a:gd name="T18" fmla="*/ 2147483647 w 399"/>
                    <a:gd name="T19" fmla="*/ 2147483647 h 573"/>
                    <a:gd name="T20" fmla="*/ 2147483647 w 399"/>
                    <a:gd name="T21" fmla="*/ 2147483647 h 573"/>
                    <a:gd name="T22" fmla="*/ 2147483647 w 399"/>
                    <a:gd name="T23" fmla="*/ 2147483647 h 573"/>
                    <a:gd name="T24" fmla="*/ 2147483647 w 399"/>
                    <a:gd name="T25" fmla="*/ 2147483647 h 573"/>
                    <a:gd name="T26" fmla="*/ 2147483647 w 399"/>
                    <a:gd name="T27" fmla="*/ 2147483647 h 573"/>
                    <a:gd name="T28" fmla="*/ 2147483647 w 399"/>
                    <a:gd name="T29" fmla="*/ 2147483647 h 573"/>
                    <a:gd name="T30" fmla="*/ 2147483647 w 399"/>
                    <a:gd name="T31" fmla="*/ 2147483647 h 573"/>
                    <a:gd name="T32" fmla="*/ 2147483647 w 399"/>
                    <a:gd name="T33" fmla="*/ 2147483647 h 573"/>
                    <a:gd name="T34" fmla="*/ 2147483647 w 399"/>
                    <a:gd name="T35" fmla="*/ 2147483647 h 573"/>
                    <a:gd name="T36" fmla="*/ 2147483647 w 399"/>
                    <a:gd name="T37" fmla="*/ 2147483647 h 573"/>
                    <a:gd name="T38" fmla="*/ 2147483647 w 399"/>
                    <a:gd name="T39" fmla="*/ 2147483647 h 573"/>
                    <a:gd name="T40" fmla="*/ 2147483647 w 399"/>
                    <a:gd name="T41" fmla="*/ 2147483647 h 573"/>
                    <a:gd name="T42" fmla="*/ 2147483647 w 399"/>
                    <a:gd name="T43" fmla="*/ 2147483647 h 573"/>
                    <a:gd name="T44" fmla="*/ 2147483647 w 399"/>
                    <a:gd name="T45" fmla="*/ 2147483647 h 573"/>
                    <a:gd name="T46" fmla="*/ 2147483647 w 399"/>
                    <a:gd name="T47" fmla="*/ 2147483647 h 573"/>
                    <a:gd name="T48" fmla="*/ 2147483647 w 399"/>
                    <a:gd name="T49" fmla="*/ 2147483647 h 573"/>
                    <a:gd name="T50" fmla="*/ 2147483647 w 399"/>
                    <a:gd name="T51" fmla="*/ 2147483647 h 573"/>
                    <a:gd name="T52" fmla="*/ 2147483647 w 399"/>
                    <a:gd name="T53" fmla="*/ 2147483647 h 573"/>
                    <a:gd name="T54" fmla="*/ 2147483647 w 399"/>
                    <a:gd name="T55" fmla="*/ 2147483647 h 573"/>
                    <a:gd name="T56" fmla="*/ 2147483647 w 399"/>
                    <a:gd name="T57" fmla="*/ 2147483647 h 573"/>
                    <a:gd name="T58" fmla="*/ 2147483647 w 399"/>
                    <a:gd name="T59" fmla="*/ 2147483647 h 573"/>
                    <a:gd name="T60" fmla="*/ 2147483647 w 399"/>
                    <a:gd name="T61" fmla="*/ 2147483647 h 573"/>
                    <a:gd name="T62" fmla="*/ 2147483647 w 399"/>
                    <a:gd name="T63" fmla="*/ 2147483647 h 573"/>
                    <a:gd name="T64" fmla="*/ 2147483647 w 399"/>
                    <a:gd name="T65" fmla="*/ 2147483647 h 573"/>
                    <a:gd name="T66" fmla="*/ 2147483647 w 399"/>
                    <a:gd name="T67" fmla="*/ 2147483647 h 573"/>
                    <a:gd name="T68" fmla="*/ 2147483647 w 399"/>
                    <a:gd name="T69" fmla="*/ 2147483647 h 573"/>
                    <a:gd name="T70" fmla="*/ 2147483647 w 399"/>
                    <a:gd name="T71" fmla="*/ 2147483647 h 573"/>
                    <a:gd name="T72" fmla="*/ 2147483647 w 399"/>
                    <a:gd name="T73" fmla="*/ 2147483647 h 573"/>
                    <a:gd name="T74" fmla="*/ 2147483647 w 399"/>
                    <a:gd name="T75" fmla="*/ 2147483647 h 573"/>
                    <a:gd name="T76" fmla="*/ 2147483647 w 399"/>
                    <a:gd name="T77" fmla="*/ 2147483647 h 573"/>
                    <a:gd name="T78" fmla="*/ 2147483647 w 399"/>
                    <a:gd name="T79" fmla="*/ 2147483647 h 573"/>
                    <a:gd name="T80" fmla="*/ 2147483647 w 399"/>
                    <a:gd name="T81" fmla="*/ 2147483647 h 573"/>
                    <a:gd name="T82" fmla="*/ 2147483647 w 399"/>
                    <a:gd name="T83" fmla="*/ 2147483647 h 573"/>
                    <a:gd name="T84" fmla="*/ 2147483647 w 399"/>
                    <a:gd name="T85" fmla="*/ 0 h 5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99"/>
                    <a:gd name="T130" fmla="*/ 0 h 573"/>
                    <a:gd name="T131" fmla="*/ 399 w 399"/>
                    <a:gd name="T132" fmla="*/ 573 h 5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99" h="573">
                      <a:moveTo>
                        <a:pt x="128" y="0"/>
                      </a:moveTo>
                      <a:lnTo>
                        <a:pt x="128" y="60"/>
                      </a:lnTo>
                      <a:lnTo>
                        <a:pt x="109" y="134"/>
                      </a:lnTo>
                      <a:lnTo>
                        <a:pt x="90" y="194"/>
                      </a:lnTo>
                      <a:lnTo>
                        <a:pt x="57" y="228"/>
                      </a:lnTo>
                      <a:lnTo>
                        <a:pt x="19" y="248"/>
                      </a:lnTo>
                      <a:lnTo>
                        <a:pt x="0" y="269"/>
                      </a:lnTo>
                      <a:lnTo>
                        <a:pt x="38" y="269"/>
                      </a:lnTo>
                      <a:lnTo>
                        <a:pt x="57" y="289"/>
                      </a:lnTo>
                      <a:lnTo>
                        <a:pt x="57" y="309"/>
                      </a:lnTo>
                      <a:lnTo>
                        <a:pt x="38" y="343"/>
                      </a:lnTo>
                      <a:lnTo>
                        <a:pt x="57" y="404"/>
                      </a:lnTo>
                      <a:lnTo>
                        <a:pt x="90" y="424"/>
                      </a:lnTo>
                      <a:lnTo>
                        <a:pt x="109" y="404"/>
                      </a:lnTo>
                      <a:lnTo>
                        <a:pt x="128" y="424"/>
                      </a:lnTo>
                      <a:lnTo>
                        <a:pt x="128" y="437"/>
                      </a:lnTo>
                      <a:lnTo>
                        <a:pt x="109" y="458"/>
                      </a:lnTo>
                      <a:lnTo>
                        <a:pt x="90" y="498"/>
                      </a:lnTo>
                      <a:lnTo>
                        <a:pt x="109" y="538"/>
                      </a:lnTo>
                      <a:lnTo>
                        <a:pt x="147" y="572"/>
                      </a:lnTo>
                      <a:lnTo>
                        <a:pt x="167" y="572"/>
                      </a:lnTo>
                      <a:lnTo>
                        <a:pt x="147" y="498"/>
                      </a:lnTo>
                      <a:lnTo>
                        <a:pt x="167" y="424"/>
                      </a:lnTo>
                      <a:lnTo>
                        <a:pt x="199" y="383"/>
                      </a:lnTo>
                      <a:lnTo>
                        <a:pt x="237" y="363"/>
                      </a:lnTo>
                      <a:lnTo>
                        <a:pt x="288" y="343"/>
                      </a:lnTo>
                      <a:lnTo>
                        <a:pt x="307" y="323"/>
                      </a:lnTo>
                      <a:lnTo>
                        <a:pt x="307" y="289"/>
                      </a:lnTo>
                      <a:lnTo>
                        <a:pt x="327" y="228"/>
                      </a:lnTo>
                      <a:lnTo>
                        <a:pt x="327" y="194"/>
                      </a:lnTo>
                      <a:lnTo>
                        <a:pt x="346" y="154"/>
                      </a:lnTo>
                      <a:lnTo>
                        <a:pt x="365" y="134"/>
                      </a:lnTo>
                      <a:lnTo>
                        <a:pt x="385" y="134"/>
                      </a:lnTo>
                      <a:lnTo>
                        <a:pt x="398" y="113"/>
                      </a:lnTo>
                      <a:lnTo>
                        <a:pt x="385" y="113"/>
                      </a:lnTo>
                      <a:lnTo>
                        <a:pt x="346" y="93"/>
                      </a:lnTo>
                      <a:lnTo>
                        <a:pt x="288" y="80"/>
                      </a:lnTo>
                      <a:lnTo>
                        <a:pt x="257" y="60"/>
                      </a:lnTo>
                      <a:lnTo>
                        <a:pt x="237" y="93"/>
                      </a:lnTo>
                      <a:lnTo>
                        <a:pt x="237" y="60"/>
                      </a:ln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5" name="Freeform 19"/>
                <p:cNvSpPr>
                  <a:spLocks/>
                </p:cNvSpPr>
                <p:nvPr/>
              </p:nvSpPr>
              <p:spPr bwMode="blackWhite">
                <a:xfrm>
                  <a:off x="2393464" y="2358676"/>
                  <a:ext cx="448893" cy="826224"/>
                </a:xfrm>
                <a:custGeom>
                  <a:avLst/>
                  <a:gdLst>
                    <a:gd name="T0" fmla="*/ 2147483647 w 297"/>
                    <a:gd name="T1" fmla="*/ 0 h 534"/>
                    <a:gd name="T2" fmla="*/ 2147483647 w 297"/>
                    <a:gd name="T3" fmla="*/ 2147483647 h 534"/>
                    <a:gd name="T4" fmla="*/ 2147483647 w 297"/>
                    <a:gd name="T5" fmla="*/ 2147483647 h 534"/>
                    <a:gd name="T6" fmla="*/ 2147483647 w 297"/>
                    <a:gd name="T7" fmla="*/ 2147483647 h 534"/>
                    <a:gd name="T8" fmla="*/ 2147483647 w 297"/>
                    <a:gd name="T9" fmla="*/ 2147483647 h 534"/>
                    <a:gd name="T10" fmla="*/ 2147483647 w 297"/>
                    <a:gd name="T11" fmla="*/ 2147483647 h 534"/>
                    <a:gd name="T12" fmla="*/ 2147483647 w 297"/>
                    <a:gd name="T13" fmla="*/ 2147483647 h 534"/>
                    <a:gd name="T14" fmla="*/ 2147483647 w 297"/>
                    <a:gd name="T15" fmla="*/ 2147483647 h 534"/>
                    <a:gd name="T16" fmla="*/ 0 w 297"/>
                    <a:gd name="T17" fmla="*/ 2147483647 h 534"/>
                    <a:gd name="T18" fmla="*/ 0 w 297"/>
                    <a:gd name="T19" fmla="*/ 2147483647 h 534"/>
                    <a:gd name="T20" fmla="*/ 2147483647 w 297"/>
                    <a:gd name="T21" fmla="*/ 2147483647 h 534"/>
                    <a:gd name="T22" fmla="*/ 0 w 297"/>
                    <a:gd name="T23" fmla="*/ 2147483647 h 534"/>
                    <a:gd name="T24" fmla="*/ 2147483647 w 297"/>
                    <a:gd name="T25" fmla="*/ 2147483647 h 534"/>
                    <a:gd name="T26" fmla="*/ 2147483647 w 297"/>
                    <a:gd name="T27" fmla="*/ 2147483647 h 534"/>
                    <a:gd name="T28" fmla="*/ 2147483647 w 297"/>
                    <a:gd name="T29" fmla="*/ 2147483647 h 534"/>
                    <a:gd name="T30" fmla="*/ 2147483647 w 297"/>
                    <a:gd name="T31" fmla="*/ 2147483647 h 534"/>
                    <a:gd name="T32" fmla="*/ 2147483647 w 297"/>
                    <a:gd name="T33" fmla="*/ 2147483647 h 534"/>
                    <a:gd name="T34" fmla="*/ 2147483647 w 297"/>
                    <a:gd name="T35" fmla="*/ 2147483647 h 534"/>
                    <a:gd name="T36" fmla="*/ 2147483647 w 297"/>
                    <a:gd name="T37" fmla="*/ 2147483647 h 534"/>
                    <a:gd name="T38" fmla="*/ 2147483647 w 297"/>
                    <a:gd name="T39" fmla="*/ 2147483647 h 534"/>
                    <a:gd name="T40" fmla="*/ 2147483647 w 297"/>
                    <a:gd name="T41" fmla="*/ 2147483647 h 534"/>
                    <a:gd name="T42" fmla="*/ 2147483647 w 297"/>
                    <a:gd name="T43" fmla="*/ 2147483647 h 534"/>
                    <a:gd name="T44" fmla="*/ 2147483647 w 297"/>
                    <a:gd name="T45" fmla="*/ 2147483647 h 534"/>
                    <a:gd name="T46" fmla="*/ 2147483647 w 297"/>
                    <a:gd name="T47" fmla="*/ 2147483647 h 534"/>
                    <a:gd name="T48" fmla="*/ 2147483647 w 297"/>
                    <a:gd name="T49" fmla="*/ 2147483647 h 534"/>
                    <a:gd name="T50" fmla="*/ 2147483647 w 297"/>
                    <a:gd name="T51" fmla="*/ 2147483647 h 534"/>
                    <a:gd name="T52" fmla="*/ 2147483647 w 297"/>
                    <a:gd name="T53" fmla="*/ 2147483647 h 534"/>
                    <a:gd name="T54" fmla="*/ 2147483647 w 297"/>
                    <a:gd name="T55" fmla="*/ 2147483647 h 534"/>
                    <a:gd name="T56" fmla="*/ 2147483647 w 297"/>
                    <a:gd name="T57" fmla="*/ 2147483647 h 534"/>
                    <a:gd name="T58" fmla="*/ 2147483647 w 297"/>
                    <a:gd name="T59" fmla="*/ 2147483647 h 534"/>
                    <a:gd name="T60" fmla="*/ 2147483647 w 297"/>
                    <a:gd name="T61" fmla="*/ 2147483647 h 534"/>
                    <a:gd name="T62" fmla="*/ 2147483647 w 297"/>
                    <a:gd name="T63" fmla="*/ 2147483647 h 534"/>
                    <a:gd name="T64" fmla="*/ 2147483647 w 297"/>
                    <a:gd name="T65" fmla="*/ 2147483647 h 534"/>
                    <a:gd name="T66" fmla="*/ 2147483647 w 297"/>
                    <a:gd name="T67" fmla="*/ 2147483647 h 534"/>
                    <a:gd name="T68" fmla="*/ 2147483647 w 297"/>
                    <a:gd name="T69" fmla="*/ 2147483647 h 534"/>
                    <a:gd name="T70" fmla="*/ 2147483647 w 297"/>
                    <a:gd name="T71" fmla="*/ 2147483647 h 534"/>
                    <a:gd name="T72" fmla="*/ 2147483647 w 297"/>
                    <a:gd name="T73" fmla="*/ 2147483647 h 534"/>
                    <a:gd name="T74" fmla="*/ 2147483647 w 297"/>
                    <a:gd name="T75" fmla="*/ 0 h 534"/>
                    <a:gd name="T76" fmla="*/ 2147483647 w 297"/>
                    <a:gd name="T77" fmla="*/ 0 h 53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97"/>
                    <a:gd name="T118" fmla="*/ 0 h 534"/>
                    <a:gd name="T119" fmla="*/ 297 w 297"/>
                    <a:gd name="T120" fmla="*/ 534 h 53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97" h="534">
                      <a:moveTo>
                        <a:pt x="128" y="0"/>
                      </a:moveTo>
                      <a:lnTo>
                        <a:pt x="148" y="20"/>
                      </a:lnTo>
                      <a:lnTo>
                        <a:pt x="148" y="40"/>
                      </a:lnTo>
                      <a:lnTo>
                        <a:pt x="90" y="94"/>
                      </a:lnTo>
                      <a:lnTo>
                        <a:pt x="77" y="135"/>
                      </a:lnTo>
                      <a:lnTo>
                        <a:pt x="77" y="189"/>
                      </a:lnTo>
                      <a:lnTo>
                        <a:pt x="57" y="229"/>
                      </a:lnTo>
                      <a:lnTo>
                        <a:pt x="19" y="282"/>
                      </a:lnTo>
                      <a:lnTo>
                        <a:pt x="0" y="343"/>
                      </a:lnTo>
                      <a:lnTo>
                        <a:pt x="0" y="397"/>
                      </a:lnTo>
                      <a:lnTo>
                        <a:pt x="19" y="458"/>
                      </a:lnTo>
                      <a:lnTo>
                        <a:pt x="0" y="512"/>
                      </a:lnTo>
                      <a:lnTo>
                        <a:pt x="19" y="512"/>
                      </a:lnTo>
                      <a:lnTo>
                        <a:pt x="57" y="499"/>
                      </a:lnTo>
                      <a:lnTo>
                        <a:pt x="90" y="499"/>
                      </a:lnTo>
                      <a:lnTo>
                        <a:pt x="109" y="512"/>
                      </a:lnTo>
                      <a:lnTo>
                        <a:pt x="148" y="533"/>
                      </a:lnTo>
                      <a:lnTo>
                        <a:pt x="167" y="512"/>
                      </a:lnTo>
                      <a:lnTo>
                        <a:pt x="199" y="499"/>
                      </a:lnTo>
                      <a:lnTo>
                        <a:pt x="276" y="512"/>
                      </a:lnTo>
                      <a:lnTo>
                        <a:pt x="276" y="438"/>
                      </a:lnTo>
                      <a:lnTo>
                        <a:pt x="257" y="384"/>
                      </a:lnTo>
                      <a:lnTo>
                        <a:pt x="276" y="343"/>
                      </a:lnTo>
                      <a:lnTo>
                        <a:pt x="296" y="323"/>
                      </a:lnTo>
                      <a:lnTo>
                        <a:pt x="296" y="303"/>
                      </a:lnTo>
                      <a:lnTo>
                        <a:pt x="276" y="303"/>
                      </a:lnTo>
                      <a:lnTo>
                        <a:pt x="238" y="269"/>
                      </a:lnTo>
                      <a:lnTo>
                        <a:pt x="218" y="229"/>
                      </a:lnTo>
                      <a:lnTo>
                        <a:pt x="238" y="189"/>
                      </a:lnTo>
                      <a:lnTo>
                        <a:pt x="257" y="168"/>
                      </a:lnTo>
                      <a:lnTo>
                        <a:pt x="257" y="155"/>
                      </a:lnTo>
                      <a:lnTo>
                        <a:pt x="238" y="135"/>
                      </a:lnTo>
                      <a:lnTo>
                        <a:pt x="218" y="155"/>
                      </a:lnTo>
                      <a:lnTo>
                        <a:pt x="186" y="135"/>
                      </a:lnTo>
                      <a:lnTo>
                        <a:pt x="167" y="74"/>
                      </a:lnTo>
                      <a:lnTo>
                        <a:pt x="186" y="40"/>
                      </a:lnTo>
                      <a:lnTo>
                        <a:pt x="186" y="20"/>
                      </a:lnTo>
                      <a:lnTo>
                        <a:pt x="167" y="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6" name="Freeform 21"/>
                <p:cNvSpPr>
                  <a:spLocks/>
                </p:cNvSpPr>
                <p:nvPr/>
              </p:nvSpPr>
              <p:spPr bwMode="blackWhite">
                <a:xfrm>
                  <a:off x="1868670" y="3510186"/>
                  <a:ext cx="552985" cy="647318"/>
                </a:xfrm>
                <a:custGeom>
                  <a:avLst/>
                  <a:gdLst>
                    <a:gd name="T0" fmla="*/ 2147483647 w 367"/>
                    <a:gd name="T1" fmla="*/ 2147483647 h 419"/>
                    <a:gd name="T2" fmla="*/ 2147483647 w 367"/>
                    <a:gd name="T3" fmla="*/ 2147483647 h 419"/>
                    <a:gd name="T4" fmla="*/ 2147483647 w 367"/>
                    <a:gd name="T5" fmla="*/ 0 h 419"/>
                    <a:gd name="T6" fmla="*/ 2147483647 w 367"/>
                    <a:gd name="T7" fmla="*/ 0 h 419"/>
                    <a:gd name="T8" fmla="*/ 2147483647 w 367"/>
                    <a:gd name="T9" fmla="*/ 2147483647 h 419"/>
                    <a:gd name="T10" fmla="*/ 2147483647 w 367"/>
                    <a:gd name="T11" fmla="*/ 2147483647 h 419"/>
                    <a:gd name="T12" fmla="*/ 2147483647 w 367"/>
                    <a:gd name="T13" fmla="*/ 2147483647 h 419"/>
                    <a:gd name="T14" fmla="*/ 2147483647 w 367"/>
                    <a:gd name="T15" fmla="*/ 2147483647 h 419"/>
                    <a:gd name="T16" fmla="*/ 0 w 367"/>
                    <a:gd name="T17" fmla="*/ 2147483647 h 419"/>
                    <a:gd name="T18" fmla="*/ 0 w 367"/>
                    <a:gd name="T19" fmla="*/ 2147483647 h 419"/>
                    <a:gd name="T20" fmla="*/ 2147483647 w 367"/>
                    <a:gd name="T21" fmla="*/ 2147483647 h 419"/>
                    <a:gd name="T22" fmla="*/ 2147483647 w 367"/>
                    <a:gd name="T23" fmla="*/ 2147483647 h 419"/>
                    <a:gd name="T24" fmla="*/ 0 w 367"/>
                    <a:gd name="T25" fmla="*/ 2147483647 h 419"/>
                    <a:gd name="T26" fmla="*/ 0 w 367"/>
                    <a:gd name="T27" fmla="*/ 2147483647 h 419"/>
                    <a:gd name="T28" fmla="*/ 2147483647 w 367"/>
                    <a:gd name="T29" fmla="*/ 2147483647 h 419"/>
                    <a:gd name="T30" fmla="*/ 2147483647 w 367"/>
                    <a:gd name="T31" fmla="*/ 2147483647 h 419"/>
                    <a:gd name="T32" fmla="*/ 2147483647 w 367"/>
                    <a:gd name="T33" fmla="*/ 2147483647 h 419"/>
                    <a:gd name="T34" fmla="*/ 2147483647 w 367"/>
                    <a:gd name="T35" fmla="*/ 2147483647 h 419"/>
                    <a:gd name="T36" fmla="*/ 2147483647 w 367"/>
                    <a:gd name="T37" fmla="*/ 2147483647 h 419"/>
                    <a:gd name="T38" fmla="*/ 2147483647 w 367"/>
                    <a:gd name="T39" fmla="*/ 2147483647 h 419"/>
                    <a:gd name="T40" fmla="*/ 2147483647 w 367"/>
                    <a:gd name="T41" fmla="*/ 2147483647 h 419"/>
                    <a:gd name="T42" fmla="*/ 2147483647 w 367"/>
                    <a:gd name="T43" fmla="*/ 2147483647 h 419"/>
                    <a:gd name="T44" fmla="*/ 2147483647 w 367"/>
                    <a:gd name="T45" fmla="*/ 2147483647 h 419"/>
                    <a:gd name="T46" fmla="*/ 2147483647 w 367"/>
                    <a:gd name="T47" fmla="*/ 2147483647 h 419"/>
                    <a:gd name="T48" fmla="*/ 2147483647 w 367"/>
                    <a:gd name="T49" fmla="*/ 2147483647 h 419"/>
                    <a:gd name="T50" fmla="*/ 2147483647 w 367"/>
                    <a:gd name="T51" fmla="*/ 2147483647 h 419"/>
                    <a:gd name="T52" fmla="*/ 2147483647 w 367"/>
                    <a:gd name="T53" fmla="*/ 2147483647 h 419"/>
                    <a:gd name="T54" fmla="*/ 2147483647 w 367"/>
                    <a:gd name="T55" fmla="*/ 2147483647 h 419"/>
                    <a:gd name="T56" fmla="*/ 2147483647 w 367"/>
                    <a:gd name="T57" fmla="*/ 2147483647 h 419"/>
                    <a:gd name="T58" fmla="*/ 2147483647 w 367"/>
                    <a:gd name="T59" fmla="*/ 2147483647 h 419"/>
                    <a:gd name="T60" fmla="*/ 2147483647 w 367"/>
                    <a:gd name="T61" fmla="*/ 2147483647 h 41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67"/>
                    <a:gd name="T94" fmla="*/ 0 h 419"/>
                    <a:gd name="T95" fmla="*/ 367 w 367"/>
                    <a:gd name="T96" fmla="*/ 419 h 41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67" h="419">
                      <a:moveTo>
                        <a:pt x="218" y="13"/>
                      </a:moveTo>
                      <a:lnTo>
                        <a:pt x="205" y="13"/>
                      </a:lnTo>
                      <a:lnTo>
                        <a:pt x="186" y="0"/>
                      </a:lnTo>
                      <a:lnTo>
                        <a:pt x="166" y="0"/>
                      </a:lnTo>
                      <a:lnTo>
                        <a:pt x="147" y="13"/>
                      </a:lnTo>
                      <a:lnTo>
                        <a:pt x="109" y="33"/>
                      </a:lnTo>
                      <a:lnTo>
                        <a:pt x="57" y="13"/>
                      </a:lnTo>
                      <a:lnTo>
                        <a:pt x="19" y="13"/>
                      </a:lnTo>
                      <a:lnTo>
                        <a:pt x="0" y="33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48"/>
                      </a:lnTo>
                      <a:lnTo>
                        <a:pt x="0" y="189"/>
                      </a:lnTo>
                      <a:lnTo>
                        <a:pt x="0" y="304"/>
                      </a:lnTo>
                      <a:lnTo>
                        <a:pt x="19" y="324"/>
                      </a:lnTo>
                      <a:lnTo>
                        <a:pt x="96" y="324"/>
                      </a:lnTo>
                      <a:lnTo>
                        <a:pt x="109" y="344"/>
                      </a:lnTo>
                      <a:lnTo>
                        <a:pt x="128" y="397"/>
                      </a:lnTo>
                      <a:lnTo>
                        <a:pt x="147" y="418"/>
                      </a:lnTo>
                      <a:lnTo>
                        <a:pt x="186" y="418"/>
                      </a:lnTo>
                      <a:lnTo>
                        <a:pt x="186" y="397"/>
                      </a:lnTo>
                      <a:lnTo>
                        <a:pt x="218" y="344"/>
                      </a:lnTo>
                      <a:lnTo>
                        <a:pt x="237" y="324"/>
                      </a:lnTo>
                      <a:lnTo>
                        <a:pt x="295" y="263"/>
                      </a:lnTo>
                      <a:lnTo>
                        <a:pt x="327" y="209"/>
                      </a:lnTo>
                      <a:lnTo>
                        <a:pt x="366" y="148"/>
                      </a:lnTo>
                      <a:lnTo>
                        <a:pt x="366" y="114"/>
                      </a:lnTo>
                      <a:lnTo>
                        <a:pt x="327" y="114"/>
                      </a:lnTo>
                      <a:lnTo>
                        <a:pt x="256" y="54"/>
                      </a:lnTo>
                      <a:lnTo>
                        <a:pt x="218" y="33"/>
                      </a:lnTo>
                      <a:lnTo>
                        <a:pt x="21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7" name="Freeform 23"/>
                <p:cNvSpPr>
                  <a:spLocks/>
                </p:cNvSpPr>
                <p:nvPr/>
              </p:nvSpPr>
              <p:spPr bwMode="blackWhite">
                <a:xfrm>
                  <a:off x="1024013" y="2648180"/>
                  <a:ext cx="613705" cy="560575"/>
                </a:xfrm>
                <a:custGeom>
                  <a:avLst/>
                  <a:gdLst>
                    <a:gd name="T0" fmla="*/ 2147483647 w 406"/>
                    <a:gd name="T1" fmla="*/ 2147483647 h 364"/>
                    <a:gd name="T2" fmla="*/ 2147483647 w 406"/>
                    <a:gd name="T3" fmla="*/ 2147483647 h 364"/>
                    <a:gd name="T4" fmla="*/ 2147483647 w 406"/>
                    <a:gd name="T5" fmla="*/ 2147483647 h 364"/>
                    <a:gd name="T6" fmla="*/ 2147483647 w 406"/>
                    <a:gd name="T7" fmla="*/ 2147483647 h 364"/>
                    <a:gd name="T8" fmla="*/ 2147483647 w 406"/>
                    <a:gd name="T9" fmla="*/ 2147483647 h 364"/>
                    <a:gd name="T10" fmla="*/ 2147483647 w 406"/>
                    <a:gd name="T11" fmla="*/ 2147483647 h 364"/>
                    <a:gd name="T12" fmla="*/ 2147483647 w 406"/>
                    <a:gd name="T13" fmla="*/ 2147483647 h 364"/>
                    <a:gd name="T14" fmla="*/ 2147483647 w 406"/>
                    <a:gd name="T15" fmla="*/ 0 h 364"/>
                    <a:gd name="T16" fmla="*/ 2147483647 w 406"/>
                    <a:gd name="T17" fmla="*/ 2147483647 h 364"/>
                    <a:gd name="T18" fmla="*/ 2147483647 w 406"/>
                    <a:gd name="T19" fmla="*/ 2147483647 h 364"/>
                    <a:gd name="T20" fmla="*/ 2147483647 w 406"/>
                    <a:gd name="T21" fmla="*/ 2147483647 h 364"/>
                    <a:gd name="T22" fmla="*/ 2147483647 w 406"/>
                    <a:gd name="T23" fmla="*/ 2147483647 h 364"/>
                    <a:gd name="T24" fmla="*/ 2147483647 w 406"/>
                    <a:gd name="T25" fmla="*/ 2147483647 h 364"/>
                    <a:gd name="T26" fmla="*/ 2147483647 w 406"/>
                    <a:gd name="T27" fmla="*/ 2147483647 h 364"/>
                    <a:gd name="T28" fmla="*/ 0 w 406"/>
                    <a:gd name="T29" fmla="*/ 2147483647 h 364"/>
                    <a:gd name="T30" fmla="*/ 2147483647 w 406"/>
                    <a:gd name="T31" fmla="*/ 2147483647 h 364"/>
                    <a:gd name="T32" fmla="*/ 2147483647 w 406"/>
                    <a:gd name="T33" fmla="*/ 2147483647 h 364"/>
                    <a:gd name="T34" fmla="*/ 2147483647 w 406"/>
                    <a:gd name="T35" fmla="*/ 2147483647 h 364"/>
                    <a:gd name="T36" fmla="*/ 2147483647 w 406"/>
                    <a:gd name="T37" fmla="*/ 2147483647 h 364"/>
                    <a:gd name="T38" fmla="*/ 2147483647 w 406"/>
                    <a:gd name="T39" fmla="*/ 2147483647 h 364"/>
                    <a:gd name="T40" fmla="*/ 2147483647 w 406"/>
                    <a:gd name="T41" fmla="*/ 2147483647 h 364"/>
                    <a:gd name="T42" fmla="*/ 2147483647 w 406"/>
                    <a:gd name="T43" fmla="*/ 2147483647 h 364"/>
                    <a:gd name="T44" fmla="*/ 2147483647 w 406"/>
                    <a:gd name="T45" fmla="*/ 2147483647 h 364"/>
                    <a:gd name="T46" fmla="*/ 2147483647 w 406"/>
                    <a:gd name="T47" fmla="*/ 2147483647 h 364"/>
                    <a:gd name="T48" fmla="*/ 2147483647 w 406"/>
                    <a:gd name="T49" fmla="*/ 2147483647 h 364"/>
                    <a:gd name="T50" fmla="*/ 2147483647 w 406"/>
                    <a:gd name="T51" fmla="*/ 2147483647 h 364"/>
                    <a:gd name="T52" fmla="*/ 2147483647 w 406"/>
                    <a:gd name="T53" fmla="*/ 2147483647 h 364"/>
                    <a:gd name="T54" fmla="*/ 2147483647 w 406"/>
                    <a:gd name="T55" fmla="*/ 2147483647 h 364"/>
                    <a:gd name="T56" fmla="*/ 2147483647 w 406"/>
                    <a:gd name="T57" fmla="*/ 2147483647 h 364"/>
                    <a:gd name="T58" fmla="*/ 2147483647 w 406"/>
                    <a:gd name="T59" fmla="*/ 2147483647 h 36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406"/>
                    <a:gd name="T91" fmla="*/ 0 h 364"/>
                    <a:gd name="T92" fmla="*/ 406 w 406"/>
                    <a:gd name="T93" fmla="*/ 364 h 36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406" h="364">
                      <a:moveTo>
                        <a:pt x="327" y="60"/>
                      </a:moveTo>
                      <a:lnTo>
                        <a:pt x="295" y="60"/>
                      </a:lnTo>
                      <a:lnTo>
                        <a:pt x="276" y="80"/>
                      </a:lnTo>
                      <a:lnTo>
                        <a:pt x="257" y="80"/>
                      </a:lnTo>
                      <a:lnTo>
                        <a:pt x="257" y="40"/>
                      </a:lnTo>
                      <a:lnTo>
                        <a:pt x="237" y="2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47" y="40"/>
                      </a:lnTo>
                      <a:lnTo>
                        <a:pt x="128" y="60"/>
                      </a:lnTo>
                      <a:lnTo>
                        <a:pt x="96" y="80"/>
                      </a:lnTo>
                      <a:lnTo>
                        <a:pt x="96" y="93"/>
                      </a:lnTo>
                      <a:lnTo>
                        <a:pt x="38" y="113"/>
                      </a:lnTo>
                      <a:lnTo>
                        <a:pt x="0" y="154"/>
                      </a:lnTo>
                      <a:lnTo>
                        <a:pt x="19" y="174"/>
                      </a:lnTo>
                      <a:lnTo>
                        <a:pt x="57" y="154"/>
                      </a:lnTo>
                      <a:lnTo>
                        <a:pt x="77" y="154"/>
                      </a:lnTo>
                      <a:lnTo>
                        <a:pt x="96" y="174"/>
                      </a:lnTo>
                      <a:lnTo>
                        <a:pt x="96" y="228"/>
                      </a:lnTo>
                      <a:lnTo>
                        <a:pt x="128" y="288"/>
                      </a:lnTo>
                      <a:lnTo>
                        <a:pt x="205" y="309"/>
                      </a:lnTo>
                      <a:lnTo>
                        <a:pt x="237" y="322"/>
                      </a:lnTo>
                      <a:lnTo>
                        <a:pt x="327" y="342"/>
                      </a:lnTo>
                      <a:lnTo>
                        <a:pt x="366" y="363"/>
                      </a:lnTo>
                      <a:lnTo>
                        <a:pt x="405" y="288"/>
                      </a:lnTo>
                      <a:lnTo>
                        <a:pt x="405" y="208"/>
                      </a:lnTo>
                      <a:lnTo>
                        <a:pt x="315" y="194"/>
                      </a:lnTo>
                      <a:lnTo>
                        <a:pt x="315" y="93"/>
                      </a:lnTo>
                      <a:lnTo>
                        <a:pt x="327" y="6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8" name="Freeform 24"/>
                <p:cNvSpPr>
                  <a:spLocks/>
                </p:cNvSpPr>
                <p:nvPr/>
              </p:nvSpPr>
              <p:spPr bwMode="blackWhite">
                <a:xfrm>
                  <a:off x="443922" y="2651433"/>
                  <a:ext cx="631053" cy="356730"/>
                </a:xfrm>
                <a:custGeom>
                  <a:avLst/>
                  <a:gdLst>
                    <a:gd name="T0" fmla="*/ 0 w 418"/>
                    <a:gd name="T1" fmla="*/ 0 h 229"/>
                    <a:gd name="T2" fmla="*/ 2147483647 w 418"/>
                    <a:gd name="T3" fmla="*/ 2147483647 h 229"/>
                    <a:gd name="T4" fmla="*/ 2147483647 w 418"/>
                    <a:gd name="T5" fmla="*/ 2147483647 h 229"/>
                    <a:gd name="T6" fmla="*/ 2147483647 w 418"/>
                    <a:gd name="T7" fmla="*/ 2147483647 h 229"/>
                    <a:gd name="T8" fmla="*/ 2147483647 w 418"/>
                    <a:gd name="T9" fmla="*/ 2147483647 h 229"/>
                    <a:gd name="T10" fmla="*/ 2147483647 w 418"/>
                    <a:gd name="T11" fmla="*/ 2147483647 h 229"/>
                    <a:gd name="T12" fmla="*/ 2147483647 w 418"/>
                    <a:gd name="T13" fmla="*/ 2147483647 h 229"/>
                    <a:gd name="T14" fmla="*/ 2147483647 w 418"/>
                    <a:gd name="T15" fmla="*/ 2147483647 h 229"/>
                    <a:gd name="T16" fmla="*/ 2147483647 w 418"/>
                    <a:gd name="T17" fmla="*/ 2147483647 h 229"/>
                    <a:gd name="T18" fmla="*/ 2147483647 w 418"/>
                    <a:gd name="T19" fmla="*/ 2147483647 h 229"/>
                    <a:gd name="T20" fmla="*/ 2147483647 w 418"/>
                    <a:gd name="T21" fmla="*/ 2147483647 h 229"/>
                    <a:gd name="T22" fmla="*/ 2147483647 w 418"/>
                    <a:gd name="T23" fmla="*/ 2147483647 h 229"/>
                    <a:gd name="T24" fmla="*/ 2147483647 w 418"/>
                    <a:gd name="T25" fmla="*/ 2147483647 h 229"/>
                    <a:gd name="T26" fmla="*/ 2147483647 w 418"/>
                    <a:gd name="T27" fmla="*/ 2147483647 h 229"/>
                    <a:gd name="T28" fmla="*/ 2147483647 w 418"/>
                    <a:gd name="T29" fmla="*/ 2147483647 h 229"/>
                    <a:gd name="T30" fmla="*/ 2147483647 w 418"/>
                    <a:gd name="T31" fmla="*/ 2147483647 h 229"/>
                    <a:gd name="T32" fmla="*/ 2147483647 w 418"/>
                    <a:gd name="T33" fmla="*/ 2147483647 h 229"/>
                    <a:gd name="T34" fmla="*/ 2147483647 w 418"/>
                    <a:gd name="T35" fmla="*/ 2147483647 h 229"/>
                    <a:gd name="T36" fmla="*/ 2147483647 w 418"/>
                    <a:gd name="T37" fmla="*/ 2147483647 h 229"/>
                    <a:gd name="T38" fmla="*/ 2147483647 w 418"/>
                    <a:gd name="T39" fmla="*/ 2147483647 h 229"/>
                    <a:gd name="T40" fmla="*/ 0 w 418"/>
                    <a:gd name="T41" fmla="*/ 2147483647 h 229"/>
                    <a:gd name="T42" fmla="*/ 0 w 418"/>
                    <a:gd name="T43" fmla="*/ 0 h 22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18"/>
                    <a:gd name="T67" fmla="*/ 0 h 229"/>
                    <a:gd name="T68" fmla="*/ 418 w 418"/>
                    <a:gd name="T69" fmla="*/ 229 h 22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18" h="229">
                      <a:moveTo>
                        <a:pt x="0" y="0"/>
                      </a:moveTo>
                      <a:lnTo>
                        <a:pt x="38" y="20"/>
                      </a:lnTo>
                      <a:lnTo>
                        <a:pt x="89" y="40"/>
                      </a:lnTo>
                      <a:lnTo>
                        <a:pt x="147" y="40"/>
                      </a:lnTo>
                      <a:lnTo>
                        <a:pt x="199" y="60"/>
                      </a:lnTo>
                      <a:lnTo>
                        <a:pt x="275" y="93"/>
                      </a:lnTo>
                      <a:lnTo>
                        <a:pt x="327" y="133"/>
                      </a:lnTo>
                      <a:lnTo>
                        <a:pt x="397" y="153"/>
                      </a:lnTo>
                      <a:lnTo>
                        <a:pt x="417" y="174"/>
                      </a:lnTo>
                      <a:lnTo>
                        <a:pt x="365" y="207"/>
                      </a:lnTo>
                      <a:lnTo>
                        <a:pt x="288" y="228"/>
                      </a:lnTo>
                      <a:lnTo>
                        <a:pt x="199" y="228"/>
                      </a:lnTo>
                      <a:lnTo>
                        <a:pt x="179" y="207"/>
                      </a:lnTo>
                      <a:lnTo>
                        <a:pt x="179" y="153"/>
                      </a:lnTo>
                      <a:lnTo>
                        <a:pt x="147" y="194"/>
                      </a:lnTo>
                      <a:lnTo>
                        <a:pt x="109" y="194"/>
                      </a:lnTo>
                      <a:lnTo>
                        <a:pt x="89" y="174"/>
                      </a:lnTo>
                      <a:lnTo>
                        <a:pt x="70" y="174"/>
                      </a:lnTo>
                      <a:lnTo>
                        <a:pt x="57" y="133"/>
                      </a:lnTo>
                      <a:lnTo>
                        <a:pt x="19" y="93"/>
                      </a:lnTo>
                      <a:lnTo>
                        <a:pt x="0" y="6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9" name="Freeform 25"/>
                <p:cNvSpPr>
                  <a:spLocks/>
                </p:cNvSpPr>
                <p:nvPr/>
              </p:nvSpPr>
              <p:spPr bwMode="blackWhite">
                <a:xfrm>
                  <a:off x="1626875" y="1631121"/>
                  <a:ext cx="1158015" cy="1176448"/>
                </a:xfrm>
                <a:custGeom>
                  <a:avLst/>
                  <a:gdLst>
                    <a:gd name="T0" fmla="*/ 0 w 765"/>
                    <a:gd name="T1" fmla="*/ 2147483647 h 762"/>
                    <a:gd name="T2" fmla="*/ 2147483647 w 765"/>
                    <a:gd name="T3" fmla="*/ 2147483647 h 762"/>
                    <a:gd name="T4" fmla="*/ 2147483647 w 765"/>
                    <a:gd name="T5" fmla="*/ 2147483647 h 762"/>
                    <a:gd name="T6" fmla="*/ 2147483647 w 765"/>
                    <a:gd name="T7" fmla="*/ 2147483647 h 762"/>
                    <a:gd name="T8" fmla="*/ 2147483647 w 765"/>
                    <a:gd name="T9" fmla="*/ 2147483647 h 762"/>
                    <a:gd name="T10" fmla="*/ 2147483647 w 765"/>
                    <a:gd name="T11" fmla="*/ 2147483647 h 762"/>
                    <a:gd name="T12" fmla="*/ 2147483647 w 765"/>
                    <a:gd name="T13" fmla="*/ 2147483647 h 762"/>
                    <a:gd name="T14" fmla="*/ 2147483647 w 765"/>
                    <a:gd name="T15" fmla="*/ 2147483647 h 762"/>
                    <a:gd name="T16" fmla="*/ 2147483647 w 765"/>
                    <a:gd name="T17" fmla="*/ 2147483647 h 762"/>
                    <a:gd name="T18" fmla="*/ 2147483647 w 765"/>
                    <a:gd name="T19" fmla="*/ 2147483647 h 762"/>
                    <a:gd name="T20" fmla="*/ 2147483647 w 765"/>
                    <a:gd name="T21" fmla="*/ 2147483647 h 762"/>
                    <a:gd name="T22" fmla="*/ 2147483647 w 765"/>
                    <a:gd name="T23" fmla="*/ 2147483647 h 762"/>
                    <a:gd name="T24" fmla="*/ 2147483647 w 765"/>
                    <a:gd name="T25" fmla="*/ 2147483647 h 762"/>
                    <a:gd name="T26" fmla="*/ 2147483647 w 765"/>
                    <a:gd name="T27" fmla="*/ 2147483647 h 762"/>
                    <a:gd name="T28" fmla="*/ 2147483647 w 765"/>
                    <a:gd name="T29" fmla="*/ 2147483647 h 762"/>
                    <a:gd name="T30" fmla="*/ 2147483647 w 765"/>
                    <a:gd name="T31" fmla="*/ 2147483647 h 762"/>
                    <a:gd name="T32" fmla="*/ 2147483647 w 765"/>
                    <a:gd name="T33" fmla="*/ 2147483647 h 762"/>
                    <a:gd name="T34" fmla="*/ 2147483647 w 765"/>
                    <a:gd name="T35" fmla="*/ 2147483647 h 762"/>
                    <a:gd name="T36" fmla="*/ 2147483647 w 765"/>
                    <a:gd name="T37" fmla="*/ 2147483647 h 762"/>
                    <a:gd name="T38" fmla="*/ 2147483647 w 765"/>
                    <a:gd name="T39" fmla="*/ 2147483647 h 762"/>
                    <a:gd name="T40" fmla="*/ 2147483647 w 765"/>
                    <a:gd name="T41" fmla="*/ 2147483647 h 762"/>
                    <a:gd name="T42" fmla="*/ 2147483647 w 765"/>
                    <a:gd name="T43" fmla="*/ 2147483647 h 762"/>
                    <a:gd name="T44" fmla="*/ 2147483647 w 765"/>
                    <a:gd name="T45" fmla="*/ 2147483647 h 762"/>
                    <a:gd name="T46" fmla="*/ 2147483647 w 765"/>
                    <a:gd name="T47" fmla="*/ 2147483647 h 762"/>
                    <a:gd name="T48" fmla="*/ 2147483647 w 765"/>
                    <a:gd name="T49" fmla="*/ 2147483647 h 762"/>
                    <a:gd name="T50" fmla="*/ 2147483647 w 765"/>
                    <a:gd name="T51" fmla="*/ 2147483647 h 762"/>
                    <a:gd name="T52" fmla="*/ 2147483647 w 765"/>
                    <a:gd name="T53" fmla="*/ 2147483647 h 762"/>
                    <a:gd name="T54" fmla="*/ 2147483647 w 765"/>
                    <a:gd name="T55" fmla="*/ 2147483647 h 762"/>
                    <a:gd name="T56" fmla="*/ 2147483647 w 765"/>
                    <a:gd name="T57" fmla="*/ 2147483647 h 762"/>
                    <a:gd name="T58" fmla="*/ 2147483647 w 765"/>
                    <a:gd name="T59" fmla="*/ 2147483647 h 762"/>
                    <a:gd name="T60" fmla="*/ 2147483647 w 765"/>
                    <a:gd name="T61" fmla="*/ 2147483647 h 762"/>
                    <a:gd name="T62" fmla="*/ 2147483647 w 765"/>
                    <a:gd name="T63" fmla="*/ 2147483647 h 762"/>
                    <a:gd name="T64" fmla="*/ 2147483647 w 765"/>
                    <a:gd name="T65" fmla="*/ 2147483647 h 762"/>
                    <a:gd name="T66" fmla="*/ 2147483647 w 765"/>
                    <a:gd name="T67" fmla="*/ 2147483647 h 762"/>
                    <a:gd name="T68" fmla="*/ 2147483647 w 765"/>
                    <a:gd name="T69" fmla="*/ 2147483647 h 762"/>
                    <a:gd name="T70" fmla="*/ 2147483647 w 765"/>
                    <a:gd name="T71" fmla="*/ 2147483647 h 762"/>
                    <a:gd name="T72" fmla="*/ 2147483647 w 765"/>
                    <a:gd name="T73" fmla="*/ 2147483647 h 762"/>
                    <a:gd name="T74" fmla="*/ 2147483647 w 765"/>
                    <a:gd name="T75" fmla="*/ 2147483647 h 762"/>
                    <a:gd name="T76" fmla="*/ 2147483647 w 765"/>
                    <a:gd name="T77" fmla="*/ 2147483647 h 762"/>
                    <a:gd name="T78" fmla="*/ 2147483647 w 765"/>
                    <a:gd name="T79" fmla="*/ 2147483647 h 762"/>
                    <a:gd name="T80" fmla="*/ 2147483647 w 765"/>
                    <a:gd name="T81" fmla="*/ 2147483647 h 762"/>
                    <a:gd name="T82" fmla="*/ 2147483647 w 765"/>
                    <a:gd name="T83" fmla="*/ 2147483647 h 762"/>
                    <a:gd name="T84" fmla="*/ 2147483647 w 765"/>
                    <a:gd name="T85" fmla="*/ 2147483647 h 762"/>
                    <a:gd name="T86" fmla="*/ 2147483647 w 765"/>
                    <a:gd name="T87" fmla="*/ 2147483647 h 762"/>
                    <a:gd name="T88" fmla="*/ 2147483647 w 765"/>
                    <a:gd name="T89" fmla="*/ 2147483647 h 762"/>
                    <a:gd name="T90" fmla="*/ 2147483647 w 765"/>
                    <a:gd name="T91" fmla="*/ 0 h 762"/>
                    <a:gd name="T92" fmla="*/ 2147483647 w 765"/>
                    <a:gd name="T93" fmla="*/ 0 h 762"/>
                    <a:gd name="T94" fmla="*/ 2147483647 w 765"/>
                    <a:gd name="T95" fmla="*/ 2147483647 h 762"/>
                    <a:gd name="T96" fmla="*/ 2147483647 w 765"/>
                    <a:gd name="T97" fmla="*/ 2147483647 h 762"/>
                    <a:gd name="T98" fmla="*/ 2147483647 w 765"/>
                    <a:gd name="T99" fmla="*/ 2147483647 h 762"/>
                    <a:gd name="T100" fmla="*/ 2147483647 w 765"/>
                    <a:gd name="T101" fmla="*/ 2147483647 h 762"/>
                    <a:gd name="T102" fmla="*/ 2147483647 w 765"/>
                    <a:gd name="T103" fmla="*/ 2147483647 h 762"/>
                    <a:gd name="T104" fmla="*/ 2147483647 w 765"/>
                    <a:gd name="T105" fmla="*/ 2147483647 h 762"/>
                    <a:gd name="T106" fmla="*/ 0 w 765"/>
                    <a:gd name="T107" fmla="*/ 2147483647 h 76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765"/>
                    <a:gd name="T163" fmla="*/ 0 h 762"/>
                    <a:gd name="T164" fmla="*/ 765 w 765"/>
                    <a:gd name="T165" fmla="*/ 762 h 76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765" h="762">
                      <a:moveTo>
                        <a:pt x="0" y="74"/>
                      </a:moveTo>
                      <a:lnTo>
                        <a:pt x="19" y="134"/>
                      </a:lnTo>
                      <a:lnTo>
                        <a:pt x="19" y="175"/>
                      </a:lnTo>
                      <a:lnTo>
                        <a:pt x="51" y="249"/>
                      </a:lnTo>
                      <a:lnTo>
                        <a:pt x="70" y="269"/>
                      </a:lnTo>
                      <a:lnTo>
                        <a:pt x="109" y="269"/>
                      </a:lnTo>
                      <a:lnTo>
                        <a:pt x="147" y="290"/>
                      </a:lnTo>
                      <a:lnTo>
                        <a:pt x="147" y="323"/>
                      </a:lnTo>
                      <a:lnTo>
                        <a:pt x="159" y="343"/>
                      </a:lnTo>
                      <a:lnTo>
                        <a:pt x="89" y="552"/>
                      </a:lnTo>
                      <a:lnTo>
                        <a:pt x="89" y="613"/>
                      </a:lnTo>
                      <a:lnTo>
                        <a:pt x="128" y="667"/>
                      </a:lnTo>
                      <a:lnTo>
                        <a:pt x="147" y="707"/>
                      </a:lnTo>
                      <a:lnTo>
                        <a:pt x="159" y="728"/>
                      </a:lnTo>
                      <a:lnTo>
                        <a:pt x="198" y="747"/>
                      </a:lnTo>
                      <a:lnTo>
                        <a:pt x="526" y="761"/>
                      </a:lnTo>
                      <a:lnTo>
                        <a:pt x="564" y="707"/>
                      </a:lnTo>
                      <a:lnTo>
                        <a:pt x="584" y="667"/>
                      </a:lnTo>
                      <a:lnTo>
                        <a:pt x="584" y="613"/>
                      </a:lnTo>
                      <a:lnTo>
                        <a:pt x="596" y="572"/>
                      </a:lnTo>
                      <a:lnTo>
                        <a:pt x="654" y="518"/>
                      </a:lnTo>
                      <a:lnTo>
                        <a:pt x="654" y="498"/>
                      </a:lnTo>
                      <a:lnTo>
                        <a:pt x="635" y="478"/>
                      </a:lnTo>
                      <a:lnTo>
                        <a:pt x="654" y="458"/>
                      </a:lnTo>
                      <a:lnTo>
                        <a:pt x="693" y="437"/>
                      </a:lnTo>
                      <a:lnTo>
                        <a:pt x="725" y="404"/>
                      </a:lnTo>
                      <a:lnTo>
                        <a:pt x="744" y="343"/>
                      </a:lnTo>
                      <a:lnTo>
                        <a:pt x="764" y="269"/>
                      </a:lnTo>
                      <a:lnTo>
                        <a:pt x="764" y="209"/>
                      </a:lnTo>
                      <a:lnTo>
                        <a:pt x="744" y="188"/>
                      </a:lnTo>
                      <a:lnTo>
                        <a:pt x="674" y="175"/>
                      </a:lnTo>
                      <a:lnTo>
                        <a:pt x="654" y="209"/>
                      </a:lnTo>
                      <a:lnTo>
                        <a:pt x="616" y="249"/>
                      </a:lnTo>
                      <a:lnTo>
                        <a:pt x="596" y="290"/>
                      </a:lnTo>
                      <a:lnTo>
                        <a:pt x="584" y="343"/>
                      </a:lnTo>
                      <a:lnTo>
                        <a:pt x="584" y="290"/>
                      </a:lnTo>
                      <a:lnTo>
                        <a:pt x="506" y="269"/>
                      </a:lnTo>
                      <a:lnTo>
                        <a:pt x="474" y="229"/>
                      </a:lnTo>
                      <a:lnTo>
                        <a:pt x="436" y="229"/>
                      </a:lnTo>
                      <a:lnTo>
                        <a:pt x="397" y="188"/>
                      </a:lnTo>
                      <a:lnTo>
                        <a:pt x="378" y="134"/>
                      </a:lnTo>
                      <a:lnTo>
                        <a:pt x="346" y="74"/>
                      </a:lnTo>
                      <a:lnTo>
                        <a:pt x="307" y="60"/>
                      </a:lnTo>
                      <a:lnTo>
                        <a:pt x="288" y="60"/>
                      </a:lnTo>
                      <a:lnTo>
                        <a:pt x="256" y="40"/>
                      </a:lnTo>
                      <a:lnTo>
                        <a:pt x="256" y="0"/>
                      </a:lnTo>
                      <a:lnTo>
                        <a:pt x="198" y="0"/>
                      </a:lnTo>
                      <a:lnTo>
                        <a:pt x="179" y="20"/>
                      </a:lnTo>
                      <a:lnTo>
                        <a:pt x="198" y="20"/>
                      </a:lnTo>
                      <a:lnTo>
                        <a:pt x="179" y="40"/>
                      </a:lnTo>
                      <a:lnTo>
                        <a:pt x="128" y="40"/>
                      </a:lnTo>
                      <a:lnTo>
                        <a:pt x="70" y="60"/>
                      </a:lnTo>
                      <a:lnTo>
                        <a:pt x="19" y="74"/>
                      </a:lnTo>
                      <a:lnTo>
                        <a:pt x="0" y="7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0" name="Freeform 26"/>
                <p:cNvSpPr>
                  <a:spLocks/>
                </p:cNvSpPr>
                <p:nvPr/>
              </p:nvSpPr>
              <p:spPr bwMode="blackWhite">
                <a:xfrm>
                  <a:off x="1987941" y="1490165"/>
                  <a:ext cx="439135" cy="502024"/>
                </a:xfrm>
                <a:custGeom>
                  <a:avLst/>
                  <a:gdLst>
                    <a:gd name="T0" fmla="*/ 2147483647 w 291"/>
                    <a:gd name="T1" fmla="*/ 2147483647 h 325"/>
                    <a:gd name="T2" fmla="*/ 2147483647 w 291"/>
                    <a:gd name="T3" fmla="*/ 2147483647 h 325"/>
                    <a:gd name="T4" fmla="*/ 2147483647 w 291"/>
                    <a:gd name="T5" fmla="*/ 2147483647 h 325"/>
                    <a:gd name="T6" fmla="*/ 2147483647 w 291"/>
                    <a:gd name="T7" fmla="*/ 2147483647 h 325"/>
                    <a:gd name="T8" fmla="*/ 2147483647 w 291"/>
                    <a:gd name="T9" fmla="*/ 2147483647 h 325"/>
                    <a:gd name="T10" fmla="*/ 2147483647 w 291"/>
                    <a:gd name="T11" fmla="*/ 2147483647 h 325"/>
                    <a:gd name="T12" fmla="*/ 2147483647 w 291"/>
                    <a:gd name="T13" fmla="*/ 2147483647 h 325"/>
                    <a:gd name="T14" fmla="*/ 0 w 291"/>
                    <a:gd name="T15" fmla="*/ 2147483647 h 325"/>
                    <a:gd name="T16" fmla="*/ 0 w 291"/>
                    <a:gd name="T17" fmla="*/ 2147483647 h 325"/>
                    <a:gd name="T18" fmla="*/ 2147483647 w 291"/>
                    <a:gd name="T19" fmla="*/ 2147483647 h 325"/>
                    <a:gd name="T20" fmla="*/ 2147483647 w 291"/>
                    <a:gd name="T21" fmla="*/ 2147483647 h 325"/>
                    <a:gd name="T22" fmla="*/ 2147483647 w 291"/>
                    <a:gd name="T23" fmla="*/ 2147483647 h 325"/>
                    <a:gd name="T24" fmla="*/ 2147483647 w 291"/>
                    <a:gd name="T25" fmla="*/ 2147483647 h 325"/>
                    <a:gd name="T26" fmla="*/ 2147483647 w 291"/>
                    <a:gd name="T27" fmla="*/ 0 h 325"/>
                    <a:gd name="T28" fmla="*/ 2147483647 w 291"/>
                    <a:gd name="T29" fmla="*/ 0 h 325"/>
                    <a:gd name="T30" fmla="*/ 2147483647 w 291"/>
                    <a:gd name="T31" fmla="*/ 2147483647 h 325"/>
                    <a:gd name="T32" fmla="*/ 2147483647 w 291"/>
                    <a:gd name="T33" fmla="*/ 2147483647 h 325"/>
                    <a:gd name="T34" fmla="*/ 2147483647 w 291"/>
                    <a:gd name="T35" fmla="*/ 2147483647 h 325"/>
                    <a:gd name="T36" fmla="*/ 2147483647 w 291"/>
                    <a:gd name="T37" fmla="*/ 2147483647 h 325"/>
                    <a:gd name="T38" fmla="*/ 2147483647 w 291"/>
                    <a:gd name="T39" fmla="*/ 2147483647 h 325"/>
                    <a:gd name="T40" fmla="*/ 2147483647 w 291"/>
                    <a:gd name="T41" fmla="*/ 2147483647 h 325"/>
                    <a:gd name="T42" fmla="*/ 2147483647 w 291"/>
                    <a:gd name="T43" fmla="*/ 2147483647 h 325"/>
                    <a:gd name="T44" fmla="*/ 2147483647 w 291"/>
                    <a:gd name="T45" fmla="*/ 2147483647 h 325"/>
                    <a:gd name="T46" fmla="*/ 2147483647 w 291"/>
                    <a:gd name="T47" fmla="*/ 2147483647 h 32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91"/>
                    <a:gd name="T73" fmla="*/ 0 h 325"/>
                    <a:gd name="T74" fmla="*/ 291 w 291"/>
                    <a:gd name="T75" fmla="*/ 325 h 32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91" h="325">
                      <a:moveTo>
                        <a:pt x="219" y="324"/>
                      </a:moveTo>
                      <a:lnTo>
                        <a:pt x="180" y="324"/>
                      </a:lnTo>
                      <a:lnTo>
                        <a:pt x="141" y="283"/>
                      </a:lnTo>
                      <a:lnTo>
                        <a:pt x="122" y="229"/>
                      </a:lnTo>
                      <a:lnTo>
                        <a:pt x="90" y="168"/>
                      </a:lnTo>
                      <a:lnTo>
                        <a:pt x="51" y="155"/>
                      </a:lnTo>
                      <a:lnTo>
                        <a:pt x="32" y="155"/>
                      </a:lnTo>
                      <a:lnTo>
                        <a:pt x="0" y="135"/>
                      </a:lnTo>
                      <a:lnTo>
                        <a:pt x="0" y="94"/>
                      </a:lnTo>
                      <a:lnTo>
                        <a:pt x="51" y="114"/>
                      </a:lnTo>
                      <a:lnTo>
                        <a:pt x="109" y="114"/>
                      </a:lnTo>
                      <a:lnTo>
                        <a:pt x="161" y="74"/>
                      </a:lnTo>
                      <a:lnTo>
                        <a:pt x="199" y="20"/>
                      </a:lnTo>
                      <a:lnTo>
                        <a:pt x="219" y="0"/>
                      </a:lnTo>
                      <a:lnTo>
                        <a:pt x="232" y="0"/>
                      </a:lnTo>
                      <a:lnTo>
                        <a:pt x="232" y="54"/>
                      </a:lnTo>
                      <a:lnTo>
                        <a:pt x="251" y="114"/>
                      </a:lnTo>
                      <a:lnTo>
                        <a:pt x="270" y="155"/>
                      </a:lnTo>
                      <a:lnTo>
                        <a:pt x="290" y="168"/>
                      </a:lnTo>
                      <a:lnTo>
                        <a:pt x="290" y="189"/>
                      </a:lnTo>
                      <a:lnTo>
                        <a:pt x="270" y="209"/>
                      </a:lnTo>
                      <a:lnTo>
                        <a:pt x="232" y="249"/>
                      </a:lnTo>
                      <a:lnTo>
                        <a:pt x="219" y="303"/>
                      </a:lnTo>
                      <a:lnTo>
                        <a:pt x="219" y="32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1" name="Freeform 28"/>
                <p:cNvSpPr>
                  <a:spLocks/>
                </p:cNvSpPr>
                <p:nvPr/>
              </p:nvSpPr>
              <p:spPr bwMode="blackWhite">
                <a:xfrm>
                  <a:off x="430910" y="1679914"/>
                  <a:ext cx="1459446" cy="1213314"/>
                </a:xfrm>
                <a:custGeom>
                  <a:avLst/>
                  <a:gdLst>
                    <a:gd name="T0" fmla="*/ 2147483647 w 964"/>
                    <a:gd name="T1" fmla="*/ 2147483647 h 783"/>
                    <a:gd name="T2" fmla="*/ 2147483647 w 964"/>
                    <a:gd name="T3" fmla="*/ 2147483647 h 783"/>
                    <a:gd name="T4" fmla="*/ 2147483647 w 964"/>
                    <a:gd name="T5" fmla="*/ 2147483647 h 783"/>
                    <a:gd name="T6" fmla="*/ 2147483647 w 964"/>
                    <a:gd name="T7" fmla="*/ 2147483647 h 783"/>
                    <a:gd name="T8" fmla="*/ 2147483647 w 964"/>
                    <a:gd name="T9" fmla="*/ 2147483647 h 783"/>
                    <a:gd name="T10" fmla="*/ 2147483647 w 964"/>
                    <a:gd name="T11" fmla="*/ 2147483647 h 783"/>
                    <a:gd name="T12" fmla="*/ 2147483647 w 964"/>
                    <a:gd name="T13" fmla="*/ 2147483647 h 783"/>
                    <a:gd name="T14" fmla="*/ 2147483647 w 964"/>
                    <a:gd name="T15" fmla="*/ 2147483647 h 783"/>
                    <a:gd name="T16" fmla="*/ 2147483647 w 964"/>
                    <a:gd name="T17" fmla="*/ 2147483647 h 783"/>
                    <a:gd name="T18" fmla="*/ 2147483647 w 964"/>
                    <a:gd name="T19" fmla="*/ 2147483647 h 783"/>
                    <a:gd name="T20" fmla="*/ 2147483647 w 964"/>
                    <a:gd name="T21" fmla="*/ 2147483647 h 783"/>
                    <a:gd name="T22" fmla="*/ 2147483647 w 964"/>
                    <a:gd name="T23" fmla="*/ 2147483647 h 783"/>
                    <a:gd name="T24" fmla="*/ 2147483647 w 964"/>
                    <a:gd name="T25" fmla="*/ 2147483647 h 783"/>
                    <a:gd name="T26" fmla="*/ 2147483647 w 964"/>
                    <a:gd name="T27" fmla="*/ 2147483647 h 783"/>
                    <a:gd name="T28" fmla="*/ 2147483647 w 964"/>
                    <a:gd name="T29" fmla="*/ 2147483647 h 783"/>
                    <a:gd name="T30" fmla="*/ 2147483647 w 964"/>
                    <a:gd name="T31" fmla="*/ 2147483647 h 783"/>
                    <a:gd name="T32" fmla="*/ 2147483647 w 964"/>
                    <a:gd name="T33" fmla="*/ 2147483647 h 783"/>
                    <a:gd name="T34" fmla="*/ 2147483647 w 964"/>
                    <a:gd name="T35" fmla="*/ 2147483647 h 783"/>
                    <a:gd name="T36" fmla="*/ 2147483647 w 964"/>
                    <a:gd name="T37" fmla="*/ 2147483647 h 783"/>
                    <a:gd name="T38" fmla="*/ 2147483647 w 964"/>
                    <a:gd name="T39" fmla="*/ 2147483647 h 783"/>
                    <a:gd name="T40" fmla="*/ 2147483647 w 964"/>
                    <a:gd name="T41" fmla="*/ 2147483647 h 783"/>
                    <a:gd name="T42" fmla="*/ 2147483647 w 964"/>
                    <a:gd name="T43" fmla="*/ 2147483647 h 783"/>
                    <a:gd name="T44" fmla="*/ 2147483647 w 964"/>
                    <a:gd name="T45" fmla="*/ 2147483647 h 783"/>
                    <a:gd name="T46" fmla="*/ 0 w 964"/>
                    <a:gd name="T47" fmla="*/ 2147483647 h 783"/>
                    <a:gd name="T48" fmla="*/ 2147483647 w 964"/>
                    <a:gd name="T49" fmla="*/ 2147483647 h 783"/>
                    <a:gd name="T50" fmla="*/ 2147483647 w 964"/>
                    <a:gd name="T51" fmla="*/ 2147483647 h 783"/>
                    <a:gd name="T52" fmla="*/ 2147483647 w 964"/>
                    <a:gd name="T53" fmla="*/ 2147483647 h 783"/>
                    <a:gd name="T54" fmla="*/ 2147483647 w 964"/>
                    <a:gd name="T55" fmla="*/ 2147483647 h 783"/>
                    <a:gd name="T56" fmla="*/ 2147483647 w 964"/>
                    <a:gd name="T57" fmla="*/ 2147483647 h 783"/>
                    <a:gd name="T58" fmla="*/ 2147483647 w 964"/>
                    <a:gd name="T59" fmla="*/ 2147483647 h 783"/>
                    <a:gd name="T60" fmla="*/ 2147483647 w 964"/>
                    <a:gd name="T61" fmla="*/ 2147483647 h 783"/>
                    <a:gd name="T62" fmla="*/ 2147483647 w 964"/>
                    <a:gd name="T63" fmla="*/ 2147483647 h 783"/>
                    <a:gd name="T64" fmla="*/ 2147483647 w 964"/>
                    <a:gd name="T65" fmla="*/ 2147483647 h 783"/>
                    <a:gd name="T66" fmla="*/ 2147483647 w 964"/>
                    <a:gd name="T67" fmla="*/ 2147483647 h 783"/>
                    <a:gd name="T68" fmla="*/ 2147483647 w 964"/>
                    <a:gd name="T69" fmla="*/ 2147483647 h 783"/>
                    <a:gd name="T70" fmla="*/ 2147483647 w 964"/>
                    <a:gd name="T71" fmla="*/ 2147483647 h 78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64"/>
                    <a:gd name="T109" fmla="*/ 0 h 783"/>
                    <a:gd name="T110" fmla="*/ 964 w 964"/>
                    <a:gd name="T111" fmla="*/ 783 h 78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64" h="783">
                      <a:moveTo>
                        <a:pt x="584" y="0"/>
                      </a:moveTo>
                      <a:lnTo>
                        <a:pt x="603" y="20"/>
                      </a:lnTo>
                      <a:lnTo>
                        <a:pt x="603" y="54"/>
                      </a:lnTo>
                      <a:lnTo>
                        <a:pt x="616" y="94"/>
                      </a:lnTo>
                      <a:lnTo>
                        <a:pt x="616" y="148"/>
                      </a:lnTo>
                      <a:lnTo>
                        <a:pt x="603" y="168"/>
                      </a:lnTo>
                      <a:lnTo>
                        <a:pt x="616" y="189"/>
                      </a:lnTo>
                      <a:lnTo>
                        <a:pt x="655" y="209"/>
                      </a:lnTo>
                      <a:lnTo>
                        <a:pt x="674" y="168"/>
                      </a:lnTo>
                      <a:lnTo>
                        <a:pt x="693" y="168"/>
                      </a:lnTo>
                      <a:lnTo>
                        <a:pt x="713" y="189"/>
                      </a:lnTo>
                      <a:lnTo>
                        <a:pt x="725" y="189"/>
                      </a:lnTo>
                      <a:lnTo>
                        <a:pt x="745" y="168"/>
                      </a:lnTo>
                      <a:lnTo>
                        <a:pt x="745" y="148"/>
                      </a:lnTo>
                      <a:lnTo>
                        <a:pt x="764" y="135"/>
                      </a:lnTo>
                      <a:lnTo>
                        <a:pt x="822" y="135"/>
                      </a:lnTo>
                      <a:lnTo>
                        <a:pt x="854" y="209"/>
                      </a:lnTo>
                      <a:lnTo>
                        <a:pt x="873" y="229"/>
                      </a:lnTo>
                      <a:lnTo>
                        <a:pt x="912" y="229"/>
                      </a:lnTo>
                      <a:lnTo>
                        <a:pt x="950" y="249"/>
                      </a:lnTo>
                      <a:lnTo>
                        <a:pt x="950" y="282"/>
                      </a:lnTo>
                      <a:lnTo>
                        <a:pt x="963" y="303"/>
                      </a:lnTo>
                      <a:lnTo>
                        <a:pt x="893" y="512"/>
                      </a:lnTo>
                      <a:lnTo>
                        <a:pt x="893" y="607"/>
                      </a:lnTo>
                      <a:lnTo>
                        <a:pt x="873" y="647"/>
                      </a:lnTo>
                      <a:lnTo>
                        <a:pt x="873" y="688"/>
                      </a:lnTo>
                      <a:lnTo>
                        <a:pt x="725" y="688"/>
                      </a:lnTo>
                      <a:lnTo>
                        <a:pt x="693" y="688"/>
                      </a:lnTo>
                      <a:lnTo>
                        <a:pt x="674" y="707"/>
                      </a:lnTo>
                      <a:lnTo>
                        <a:pt x="655" y="707"/>
                      </a:lnTo>
                      <a:lnTo>
                        <a:pt x="655" y="667"/>
                      </a:lnTo>
                      <a:lnTo>
                        <a:pt x="635" y="647"/>
                      </a:lnTo>
                      <a:lnTo>
                        <a:pt x="616" y="647"/>
                      </a:lnTo>
                      <a:lnTo>
                        <a:pt x="584" y="627"/>
                      </a:lnTo>
                      <a:lnTo>
                        <a:pt x="545" y="647"/>
                      </a:lnTo>
                      <a:lnTo>
                        <a:pt x="545" y="667"/>
                      </a:lnTo>
                      <a:lnTo>
                        <a:pt x="526" y="688"/>
                      </a:lnTo>
                      <a:lnTo>
                        <a:pt x="494" y="707"/>
                      </a:lnTo>
                      <a:lnTo>
                        <a:pt x="494" y="721"/>
                      </a:lnTo>
                      <a:lnTo>
                        <a:pt x="436" y="741"/>
                      </a:lnTo>
                      <a:lnTo>
                        <a:pt x="397" y="782"/>
                      </a:lnTo>
                      <a:lnTo>
                        <a:pt x="327" y="761"/>
                      </a:lnTo>
                      <a:lnTo>
                        <a:pt x="275" y="721"/>
                      </a:lnTo>
                      <a:lnTo>
                        <a:pt x="199" y="688"/>
                      </a:lnTo>
                      <a:lnTo>
                        <a:pt x="147" y="667"/>
                      </a:lnTo>
                      <a:lnTo>
                        <a:pt x="90" y="667"/>
                      </a:lnTo>
                      <a:lnTo>
                        <a:pt x="38" y="647"/>
                      </a:lnTo>
                      <a:lnTo>
                        <a:pt x="0" y="627"/>
                      </a:lnTo>
                      <a:lnTo>
                        <a:pt x="19" y="593"/>
                      </a:lnTo>
                      <a:lnTo>
                        <a:pt x="38" y="573"/>
                      </a:lnTo>
                      <a:lnTo>
                        <a:pt x="38" y="553"/>
                      </a:lnTo>
                      <a:lnTo>
                        <a:pt x="57" y="512"/>
                      </a:lnTo>
                      <a:lnTo>
                        <a:pt x="90" y="478"/>
                      </a:lnTo>
                      <a:lnTo>
                        <a:pt x="180" y="438"/>
                      </a:lnTo>
                      <a:lnTo>
                        <a:pt x="199" y="438"/>
                      </a:lnTo>
                      <a:lnTo>
                        <a:pt x="217" y="363"/>
                      </a:lnTo>
                      <a:lnTo>
                        <a:pt x="237" y="249"/>
                      </a:lnTo>
                      <a:lnTo>
                        <a:pt x="199" y="209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7" y="114"/>
                      </a:lnTo>
                      <a:lnTo>
                        <a:pt x="237" y="94"/>
                      </a:lnTo>
                      <a:lnTo>
                        <a:pt x="199" y="74"/>
                      </a:lnTo>
                      <a:lnTo>
                        <a:pt x="199" y="54"/>
                      </a:lnTo>
                      <a:lnTo>
                        <a:pt x="288" y="33"/>
                      </a:lnTo>
                      <a:lnTo>
                        <a:pt x="346" y="33"/>
                      </a:lnTo>
                      <a:lnTo>
                        <a:pt x="365" y="54"/>
                      </a:lnTo>
                      <a:lnTo>
                        <a:pt x="385" y="94"/>
                      </a:lnTo>
                      <a:lnTo>
                        <a:pt x="417" y="114"/>
                      </a:lnTo>
                      <a:lnTo>
                        <a:pt x="494" y="94"/>
                      </a:lnTo>
                      <a:lnTo>
                        <a:pt x="526" y="54"/>
                      </a:lnTo>
                      <a:lnTo>
                        <a:pt x="584" y="20"/>
                      </a:lnTo>
                      <a:lnTo>
                        <a:pt x="584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2" name="Freeform 29"/>
                <p:cNvSpPr>
                  <a:spLocks/>
                </p:cNvSpPr>
                <p:nvPr/>
              </p:nvSpPr>
              <p:spPr bwMode="blackWhite">
                <a:xfrm>
                  <a:off x="2357681" y="1856652"/>
                  <a:ext cx="243964" cy="178907"/>
                </a:xfrm>
                <a:custGeom>
                  <a:avLst/>
                  <a:gdLst>
                    <a:gd name="T0" fmla="*/ 2147483647 w 162"/>
                    <a:gd name="T1" fmla="*/ 2147483647 h 116"/>
                    <a:gd name="T2" fmla="*/ 2147483647 w 162"/>
                    <a:gd name="T3" fmla="*/ 2147483647 h 116"/>
                    <a:gd name="T4" fmla="*/ 2147483647 w 162"/>
                    <a:gd name="T5" fmla="*/ 2147483647 h 116"/>
                    <a:gd name="T6" fmla="*/ 2147483647 w 162"/>
                    <a:gd name="T7" fmla="*/ 2147483647 h 116"/>
                    <a:gd name="T8" fmla="*/ 2147483647 w 162"/>
                    <a:gd name="T9" fmla="*/ 2147483647 h 116"/>
                    <a:gd name="T10" fmla="*/ 0 w 162"/>
                    <a:gd name="T11" fmla="*/ 2147483647 h 116"/>
                    <a:gd name="T12" fmla="*/ 2147483647 w 162"/>
                    <a:gd name="T13" fmla="*/ 2147483647 h 116"/>
                    <a:gd name="T14" fmla="*/ 2147483647 w 162"/>
                    <a:gd name="T15" fmla="*/ 0 h 116"/>
                    <a:gd name="T16" fmla="*/ 2147483647 w 162"/>
                    <a:gd name="T17" fmla="*/ 0 h 116"/>
                    <a:gd name="T18" fmla="*/ 2147483647 w 162"/>
                    <a:gd name="T19" fmla="*/ 2147483647 h 116"/>
                    <a:gd name="T20" fmla="*/ 2147483647 w 162"/>
                    <a:gd name="T21" fmla="*/ 0 h 116"/>
                    <a:gd name="T22" fmla="*/ 2147483647 w 162"/>
                    <a:gd name="T23" fmla="*/ 2147483647 h 11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2"/>
                    <a:gd name="T37" fmla="*/ 0 h 116"/>
                    <a:gd name="T38" fmla="*/ 162 w 162"/>
                    <a:gd name="T39" fmla="*/ 116 h 11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2" h="116">
                      <a:moveTo>
                        <a:pt x="161" y="20"/>
                      </a:moveTo>
                      <a:lnTo>
                        <a:pt x="148" y="60"/>
                      </a:lnTo>
                      <a:lnTo>
                        <a:pt x="109" y="94"/>
                      </a:lnTo>
                      <a:lnTo>
                        <a:pt x="70" y="115"/>
                      </a:lnTo>
                      <a:lnTo>
                        <a:pt x="38" y="94"/>
                      </a:lnTo>
                      <a:lnTo>
                        <a:pt x="0" y="81"/>
                      </a:lnTo>
                      <a:lnTo>
                        <a:pt x="19" y="20"/>
                      </a:lnTo>
                      <a:lnTo>
                        <a:pt x="51" y="0"/>
                      </a:lnTo>
                      <a:lnTo>
                        <a:pt x="70" y="0"/>
                      </a:lnTo>
                      <a:lnTo>
                        <a:pt x="109" y="20"/>
                      </a:lnTo>
                      <a:lnTo>
                        <a:pt x="148" y="0"/>
                      </a:lnTo>
                      <a:lnTo>
                        <a:pt x="161" y="20"/>
                      </a:lnTo>
                    </a:path>
                  </a:pathLst>
                </a:custGeom>
                <a:solidFill>
                  <a:schemeClr val="accent5"/>
                </a:solidFill>
                <a:ln w="190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3" name="Freeform 30"/>
                <p:cNvSpPr>
                  <a:spLocks/>
                </p:cNvSpPr>
                <p:nvPr/>
              </p:nvSpPr>
              <p:spPr bwMode="blackWhite">
                <a:xfrm>
                  <a:off x="1957582" y="4450260"/>
                  <a:ext cx="574670" cy="659245"/>
                </a:xfrm>
                <a:custGeom>
                  <a:avLst/>
                  <a:gdLst>
                    <a:gd name="T0" fmla="*/ 2147483647 w 380"/>
                    <a:gd name="T1" fmla="*/ 2147483647 h 426"/>
                    <a:gd name="T2" fmla="*/ 2147483647 w 380"/>
                    <a:gd name="T3" fmla="*/ 2147483647 h 426"/>
                    <a:gd name="T4" fmla="*/ 2147483647 w 380"/>
                    <a:gd name="T5" fmla="*/ 2147483647 h 426"/>
                    <a:gd name="T6" fmla="*/ 2147483647 w 380"/>
                    <a:gd name="T7" fmla="*/ 2147483647 h 426"/>
                    <a:gd name="T8" fmla="*/ 2147483647 w 380"/>
                    <a:gd name="T9" fmla="*/ 2147483647 h 426"/>
                    <a:gd name="T10" fmla="*/ 2147483647 w 380"/>
                    <a:gd name="T11" fmla="*/ 2147483647 h 426"/>
                    <a:gd name="T12" fmla="*/ 2147483647 w 380"/>
                    <a:gd name="T13" fmla="*/ 2147483647 h 426"/>
                    <a:gd name="T14" fmla="*/ 2147483647 w 380"/>
                    <a:gd name="T15" fmla="*/ 2147483647 h 426"/>
                    <a:gd name="T16" fmla="*/ 2147483647 w 380"/>
                    <a:gd name="T17" fmla="*/ 2147483647 h 426"/>
                    <a:gd name="T18" fmla="*/ 2147483647 w 380"/>
                    <a:gd name="T19" fmla="*/ 2147483647 h 426"/>
                    <a:gd name="T20" fmla="*/ 2147483647 w 380"/>
                    <a:gd name="T21" fmla="*/ 2147483647 h 426"/>
                    <a:gd name="T22" fmla="*/ 2147483647 w 380"/>
                    <a:gd name="T23" fmla="*/ 2147483647 h 426"/>
                    <a:gd name="T24" fmla="*/ 2147483647 w 380"/>
                    <a:gd name="T25" fmla="*/ 0 h 426"/>
                    <a:gd name="T26" fmla="*/ 2147483647 w 380"/>
                    <a:gd name="T27" fmla="*/ 0 h 426"/>
                    <a:gd name="T28" fmla="*/ 2147483647 w 380"/>
                    <a:gd name="T29" fmla="*/ 2147483647 h 426"/>
                    <a:gd name="T30" fmla="*/ 0 w 380"/>
                    <a:gd name="T31" fmla="*/ 2147483647 h 426"/>
                    <a:gd name="T32" fmla="*/ 0 w 380"/>
                    <a:gd name="T33" fmla="*/ 2147483647 h 426"/>
                    <a:gd name="T34" fmla="*/ 2147483647 w 380"/>
                    <a:gd name="T35" fmla="*/ 2147483647 h 426"/>
                    <a:gd name="T36" fmla="*/ 2147483647 w 380"/>
                    <a:gd name="T37" fmla="*/ 2147483647 h 426"/>
                    <a:gd name="T38" fmla="*/ 2147483647 w 380"/>
                    <a:gd name="T39" fmla="*/ 2147483647 h 426"/>
                    <a:gd name="T40" fmla="*/ 2147483647 w 380"/>
                    <a:gd name="T41" fmla="*/ 2147483647 h 426"/>
                    <a:gd name="T42" fmla="*/ 2147483647 w 380"/>
                    <a:gd name="T43" fmla="*/ 2147483647 h 426"/>
                    <a:gd name="T44" fmla="*/ 2147483647 w 380"/>
                    <a:gd name="T45" fmla="*/ 2147483647 h 426"/>
                    <a:gd name="T46" fmla="*/ 2147483647 w 380"/>
                    <a:gd name="T47" fmla="*/ 2147483647 h 426"/>
                    <a:gd name="T48" fmla="*/ 2147483647 w 380"/>
                    <a:gd name="T49" fmla="*/ 2147483647 h 42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80"/>
                    <a:gd name="T76" fmla="*/ 0 h 426"/>
                    <a:gd name="T77" fmla="*/ 380 w 380"/>
                    <a:gd name="T78" fmla="*/ 426 h 42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80" h="426">
                      <a:moveTo>
                        <a:pt x="199" y="425"/>
                      </a:moveTo>
                      <a:lnTo>
                        <a:pt x="237" y="404"/>
                      </a:lnTo>
                      <a:lnTo>
                        <a:pt x="269" y="323"/>
                      </a:lnTo>
                      <a:lnTo>
                        <a:pt x="308" y="289"/>
                      </a:lnTo>
                      <a:lnTo>
                        <a:pt x="346" y="196"/>
                      </a:lnTo>
                      <a:lnTo>
                        <a:pt x="379" y="135"/>
                      </a:lnTo>
                      <a:lnTo>
                        <a:pt x="366" y="114"/>
                      </a:lnTo>
                      <a:lnTo>
                        <a:pt x="366" y="81"/>
                      </a:lnTo>
                      <a:lnTo>
                        <a:pt x="346" y="81"/>
                      </a:lnTo>
                      <a:lnTo>
                        <a:pt x="327" y="60"/>
                      </a:lnTo>
                      <a:lnTo>
                        <a:pt x="289" y="40"/>
                      </a:lnTo>
                      <a:lnTo>
                        <a:pt x="269" y="20"/>
                      </a:lnTo>
                      <a:lnTo>
                        <a:pt x="218" y="0"/>
                      </a:lnTo>
                      <a:lnTo>
                        <a:pt x="160" y="0"/>
                      </a:lnTo>
                      <a:lnTo>
                        <a:pt x="109" y="40"/>
                      </a:lnTo>
                      <a:lnTo>
                        <a:pt x="0" y="209"/>
                      </a:lnTo>
                      <a:lnTo>
                        <a:pt x="0" y="228"/>
                      </a:lnTo>
                      <a:lnTo>
                        <a:pt x="38" y="228"/>
                      </a:lnTo>
                      <a:lnTo>
                        <a:pt x="109" y="269"/>
                      </a:lnTo>
                      <a:lnTo>
                        <a:pt x="128" y="269"/>
                      </a:lnTo>
                      <a:lnTo>
                        <a:pt x="199" y="343"/>
                      </a:lnTo>
                      <a:lnTo>
                        <a:pt x="218" y="323"/>
                      </a:lnTo>
                      <a:lnTo>
                        <a:pt x="218" y="364"/>
                      </a:lnTo>
                      <a:lnTo>
                        <a:pt x="199" y="384"/>
                      </a:lnTo>
                      <a:lnTo>
                        <a:pt x="199" y="425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4" name="Freeform 22"/>
                <p:cNvSpPr>
                  <a:spLocks/>
                </p:cNvSpPr>
                <p:nvPr/>
              </p:nvSpPr>
              <p:spPr bwMode="blackWhite">
                <a:xfrm>
                  <a:off x="1504352" y="2562522"/>
                  <a:ext cx="931400" cy="1034407"/>
                </a:xfrm>
                <a:custGeom>
                  <a:avLst/>
                  <a:gdLst>
                    <a:gd name="T0" fmla="*/ 2147483647 w 617"/>
                    <a:gd name="T1" fmla="*/ 2147483647 h 668"/>
                    <a:gd name="T2" fmla="*/ 2147483647 w 617"/>
                    <a:gd name="T3" fmla="*/ 2147483647 h 668"/>
                    <a:gd name="T4" fmla="*/ 2147483647 w 617"/>
                    <a:gd name="T5" fmla="*/ 2147483647 h 668"/>
                    <a:gd name="T6" fmla="*/ 2147483647 w 617"/>
                    <a:gd name="T7" fmla="*/ 2147483647 h 668"/>
                    <a:gd name="T8" fmla="*/ 2147483647 w 617"/>
                    <a:gd name="T9" fmla="*/ 2147483647 h 668"/>
                    <a:gd name="T10" fmla="*/ 2147483647 w 617"/>
                    <a:gd name="T11" fmla="*/ 0 h 668"/>
                    <a:gd name="T12" fmla="*/ 2147483647 w 617"/>
                    <a:gd name="T13" fmla="*/ 2147483647 h 668"/>
                    <a:gd name="T14" fmla="*/ 2147483647 w 617"/>
                    <a:gd name="T15" fmla="*/ 2147483647 h 668"/>
                    <a:gd name="T16" fmla="*/ 2147483647 w 617"/>
                    <a:gd name="T17" fmla="*/ 2147483647 h 668"/>
                    <a:gd name="T18" fmla="*/ 2147483647 w 617"/>
                    <a:gd name="T19" fmla="*/ 2147483647 h 668"/>
                    <a:gd name="T20" fmla="*/ 0 w 617"/>
                    <a:gd name="T21" fmla="*/ 2147483647 h 668"/>
                    <a:gd name="T22" fmla="*/ 0 w 617"/>
                    <a:gd name="T23" fmla="*/ 2147483647 h 668"/>
                    <a:gd name="T24" fmla="*/ 2147483647 w 617"/>
                    <a:gd name="T25" fmla="*/ 2147483647 h 668"/>
                    <a:gd name="T26" fmla="*/ 2147483647 w 617"/>
                    <a:gd name="T27" fmla="*/ 2147483647 h 668"/>
                    <a:gd name="T28" fmla="*/ 2147483647 w 617"/>
                    <a:gd name="T29" fmla="*/ 2147483647 h 668"/>
                    <a:gd name="T30" fmla="*/ 2147483647 w 617"/>
                    <a:gd name="T31" fmla="*/ 2147483647 h 668"/>
                    <a:gd name="T32" fmla="*/ 2147483647 w 617"/>
                    <a:gd name="T33" fmla="*/ 2147483647 h 668"/>
                    <a:gd name="T34" fmla="*/ 2147483647 w 617"/>
                    <a:gd name="T35" fmla="*/ 2147483647 h 668"/>
                    <a:gd name="T36" fmla="*/ 2147483647 w 617"/>
                    <a:gd name="T37" fmla="*/ 2147483647 h 668"/>
                    <a:gd name="T38" fmla="*/ 2147483647 w 617"/>
                    <a:gd name="T39" fmla="*/ 2147483647 h 668"/>
                    <a:gd name="T40" fmla="*/ 2147483647 w 617"/>
                    <a:gd name="T41" fmla="*/ 2147483647 h 668"/>
                    <a:gd name="T42" fmla="*/ 2147483647 w 617"/>
                    <a:gd name="T43" fmla="*/ 2147483647 h 668"/>
                    <a:gd name="T44" fmla="*/ 2147483647 w 617"/>
                    <a:gd name="T45" fmla="*/ 2147483647 h 668"/>
                    <a:gd name="T46" fmla="*/ 2147483647 w 617"/>
                    <a:gd name="T47" fmla="*/ 2147483647 h 668"/>
                    <a:gd name="T48" fmla="*/ 2147483647 w 617"/>
                    <a:gd name="T49" fmla="*/ 2147483647 h 668"/>
                    <a:gd name="T50" fmla="*/ 2147483647 w 617"/>
                    <a:gd name="T51" fmla="*/ 2147483647 h 668"/>
                    <a:gd name="T52" fmla="*/ 2147483647 w 617"/>
                    <a:gd name="T53" fmla="*/ 2147483647 h 668"/>
                    <a:gd name="T54" fmla="*/ 2147483647 w 617"/>
                    <a:gd name="T55" fmla="*/ 2147483647 h 668"/>
                    <a:gd name="T56" fmla="*/ 2147483647 w 617"/>
                    <a:gd name="T57" fmla="*/ 2147483647 h 668"/>
                    <a:gd name="T58" fmla="*/ 2147483647 w 617"/>
                    <a:gd name="T59" fmla="*/ 2147483647 h 668"/>
                    <a:gd name="T60" fmla="*/ 2147483647 w 617"/>
                    <a:gd name="T61" fmla="*/ 2147483647 h 668"/>
                    <a:gd name="T62" fmla="*/ 2147483647 w 617"/>
                    <a:gd name="T63" fmla="*/ 2147483647 h 668"/>
                    <a:gd name="T64" fmla="*/ 2147483647 w 617"/>
                    <a:gd name="T65" fmla="*/ 2147483647 h 668"/>
                    <a:gd name="T66" fmla="*/ 2147483647 w 617"/>
                    <a:gd name="T67" fmla="*/ 2147483647 h 668"/>
                    <a:gd name="T68" fmla="*/ 2147483647 w 617"/>
                    <a:gd name="T69" fmla="*/ 2147483647 h 668"/>
                    <a:gd name="T70" fmla="*/ 2147483647 w 617"/>
                    <a:gd name="T71" fmla="*/ 2147483647 h 668"/>
                    <a:gd name="T72" fmla="*/ 2147483647 w 617"/>
                    <a:gd name="T73" fmla="*/ 2147483647 h 668"/>
                    <a:gd name="T74" fmla="*/ 2147483647 w 617"/>
                    <a:gd name="T75" fmla="*/ 2147483647 h 668"/>
                    <a:gd name="T76" fmla="*/ 2147483647 w 617"/>
                    <a:gd name="T77" fmla="*/ 2147483647 h 668"/>
                    <a:gd name="T78" fmla="*/ 2147483647 w 617"/>
                    <a:gd name="T79" fmla="*/ 2147483647 h 668"/>
                    <a:gd name="T80" fmla="*/ 2147483647 w 617"/>
                    <a:gd name="T81" fmla="*/ 2147483647 h 668"/>
                    <a:gd name="T82" fmla="*/ 2147483647 w 617"/>
                    <a:gd name="T83" fmla="*/ 2147483647 h 668"/>
                    <a:gd name="T84" fmla="*/ 2147483647 w 617"/>
                    <a:gd name="T85" fmla="*/ 2147483647 h 668"/>
                    <a:gd name="T86" fmla="*/ 2147483647 w 617"/>
                    <a:gd name="T87" fmla="*/ 2147483647 h 66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17"/>
                    <a:gd name="T133" fmla="*/ 0 h 668"/>
                    <a:gd name="T134" fmla="*/ 617 w 617"/>
                    <a:gd name="T135" fmla="*/ 668 h 66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17" h="668">
                      <a:moveTo>
                        <a:pt x="616" y="147"/>
                      </a:moveTo>
                      <a:lnTo>
                        <a:pt x="288" y="134"/>
                      </a:lnTo>
                      <a:lnTo>
                        <a:pt x="249" y="114"/>
                      </a:lnTo>
                      <a:lnTo>
                        <a:pt x="237" y="94"/>
                      </a:lnTo>
                      <a:lnTo>
                        <a:pt x="218" y="54"/>
                      </a:lnTo>
                      <a:lnTo>
                        <a:pt x="179" y="0"/>
                      </a:lnTo>
                      <a:lnTo>
                        <a:pt x="179" y="33"/>
                      </a:lnTo>
                      <a:lnTo>
                        <a:pt x="160" y="74"/>
                      </a:lnTo>
                      <a:lnTo>
                        <a:pt x="160" y="114"/>
                      </a:lnTo>
                      <a:lnTo>
                        <a:pt x="12" y="114"/>
                      </a:lnTo>
                      <a:lnTo>
                        <a:pt x="0" y="147"/>
                      </a:lnTo>
                      <a:lnTo>
                        <a:pt x="0" y="249"/>
                      </a:lnTo>
                      <a:lnTo>
                        <a:pt x="89" y="262"/>
                      </a:lnTo>
                      <a:lnTo>
                        <a:pt x="89" y="343"/>
                      </a:lnTo>
                      <a:lnTo>
                        <a:pt x="51" y="417"/>
                      </a:lnTo>
                      <a:lnTo>
                        <a:pt x="70" y="478"/>
                      </a:lnTo>
                      <a:lnTo>
                        <a:pt x="51" y="498"/>
                      </a:lnTo>
                      <a:lnTo>
                        <a:pt x="70" y="532"/>
                      </a:lnTo>
                      <a:lnTo>
                        <a:pt x="70" y="572"/>
                      </a:lnTo>
                      <a:lnTo>
                        <a:pt x="160" y="592"/>
                      </a:lnTo>
                      <a:lnTo>
                        <a:pt x="199" y="592"/>
                      </a:lnTo>
                      <a:lnTo>
                        <a:pt x="199" y="612"/>
                      </a:lnTo>
                      <a:lnTo>
                        <a:pt x="218" y="646"/>
                      </a:lnTo>
                      <a:lnTo>
                        <a:pt x="249" y="667"/>
                      </a:lnTo>
                      <a:lnTo>
                        <a:pt x="249" y="646"/>
                      </a:lnTo>
                      <a:lnTo>
                        <a:pt x="269" y="626"/>
                      </a:lnTo>
                      <a:lnTo>
                        <a:pt x="307" y="626"/>
                      </a:lnTo>
                      <a:lnTo>
                        <a:pt x="358" y="646"/>
                      </a:lnTo>
                      <a:lnTo>
                        <a:pt x="397" y="626"/>
                      </a:lnTo>
                      <a:lnTo>
                        <a:pt x="416" y="612"/>
                      </a:lnTo>
                      <a:lnTo>
                        <a:pt x="436" y="612"/>
                      </a:lnTo>
                      <a:lnTo>
                        <a:pt x="455" y="626"/>
                      </a:lnTo>
                      <a:lnTo>
                        <a:pt x="468" y="626"/>
                      </a:lnTo>
                      <a:lnTo>
                        <a:pt x="468" y="612"/>
                      </a:lnTo>
                      <a:lnTo>
                        <a:pt x="487" y="553"/>
                      </a:lnTo>
                      <a:lnTo>
                        <a:pt x="526" y="512"/>
                      </a:lnTo>
                      <a:lnTo>
                        <a:pt x="545" y="478"/>
                      </a:lnTo>
                      <a:lnTo>
                        <a:pt x="577" y="458"/>
                      </a:lnTo>
                      <a:lnTo>
                        <a:pt x="596" y="417"/>
                      </a:lnTo>
                      <a:lnTo>
                        <a:pt x="596" y="377"/>
                      </a:lnTo>
                      <a:lnTo>
                        <a:pt x="616" y="323"/>
                      </a:lnTo>
                      <a:lnTo>
                        <a:pt x="596" y="262"/>
                      </a:lnTo>
                      <a:lnTo>
                        <a:pt x="596" y="208"/>
                      </a:lnTo>
                      <a:lnTo>
                        <a:pt x="616" y="147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204" name="Elipse 203"/>
              <p:cNvSpPr/>
              <p:nvPr/>
            </p:nvSpPr>
            <p:spPr>
              <a:xfrm>
                <a:off x="2823486" y="2238554"/>
                <a:ext cx="690253" cy="6386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 dirty="0">
                    <a:solidFill>
                      <a:schemeClr val="tx1"/>
                    </a:solidFill>
                  </a:rPr>
                  <a:t>NE</a:t>
                </a:r>
              </a:p>
              <a:p>
                <a:pPr algn="ctr"/>
                <a:r>
                  <a:rPr lang="pt-BR" sz="900" dirty="0">
                    <a:solidFill>
                      <a:schemeClr val="tx1"/>
                    </a:solidFill>
                  </a:rPr>
                  <a:t>1.543</a:t>
                </a:r>
                <a:endParaRPr lang="pt-BR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Elipse 204"/>
              <p:cNvSpPr/>
              <p:nvPr/>
            </p:nvSpPr>
            <p:spPr>
              <a:xfrm>
                <a:off x="1411079" y="1847898"/>
                <a:ext cx="690253" cy="6386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 dirty="0">
                    <a:solidFill>
                      <a:schemeClr val="tx1"/>
                    </a:solidFill>
                  </a:rPr>
                  <a:t>NO</a:t>
                </a:r>
              </a:p>
              <a:p>
                <a:pPr algn="ctr"/>
                <a:r>
                  <a:rPr lang="pt-BR" sz="900" dirty="0">
                    <a:solidFill>
                      <a:schemeClr val="tx1"/>
                    </a:solidFill>
                  </a:rPr>
                  <a:t>1.861</a:t>
                </a:r>
                <a:endParaRPr lang="pt-BR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6" name="Elipse 205"/>
              <p:cNvSpPr/>
              <p:nvPr/>
            </p:nvSpPr>
            <p:spPr>
              <a:xfrm>
                <a:off x="2506422" y="3280122"/>
                <a:ext cx="690253" cy="6386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 dirty="0">
                    <a:solidFill>
                      <a:schemeClr val="tx1"/>
                    </a:solidFill>
                  </a:rPr>
                  <a:t>SE</a:t>
                </a:r>
              </a:p>
              <a:p>
                <a:pPr algn="ctr"/>
                <a:r>
                  <a:rPr lang="pt-BR" sz="900" dirty="0">
                    <a:solidFill>
                      <a:schemeClr val="tx1"/>
                    </a:solidFill>
                  </a:rPr>
                  <a:t>866</a:t>
                </a:r>
                <a:endParaRPr lang="pt-BR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Elipse 206"/>
              <p:cNvSpPr/>
              <p:nvPr/>
            </p:nvSpPr>
            <p:spPr>
              <a:xfrm>
                <a:off x="1768065" y="2889984"/>
                <a:ext cx="690253" cy="6386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 dirty="0">
                    <a:solidFill>
                      <a:schemeClr val="tx1"/>
                    </a:solidFill>
                  </a:rPr>
                  <a:t>CO</a:t>
                </a:r>
              </a:p>
              <a:p>
                <a:pPr algn="ctr"/>
                <a:r>
                  <a:rPr lang="pt-BR" sz="900" dirty="0">
                    <a:solidFill>
                      <a:schemeClr val="tx1"/>
                    </a:solidFill>
                  </a:rPr>
                  <a:t>1.143</a:t>
                </a:r>
                <a:endParaRPr lang="pt-BR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Elipse 207"/>
              <p:cNvSpPr/>
              <p:nvPr/>
            </p:nvSpPr>
            <p:spPr>
              <a:xfrm>
                <a:off x="1945007" y="4027193"/>
                <a:ext cx="690253" cy="6386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 dirty="0">
                    <a:solidFill>
                      <a:schemeClr val="tx1"/>
                    </a:solidFill>
                  </a:rPr>
                  <a:t>S</a:t>
                </a:r>
              </a:p>
              <a:p>
                <a:pPr algn="ctr"/>
                <a:r>
                  <a:rPr lang="pt-BR" sz="900" dirty="0">
                    <a:solidFill>
                      <a:schemeClr val="tx1"/>
                    </a:solidFill>
                  </a:rPr>
                  <a:t>688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3" name="Freeform 27"/>
            <p:cNvSpPr>
              <a:spLocks/>
            </p:cNvSpPr>
            <p:nvPr/>
          </p:nvSpPr>
          <p:spPr bwMode="blackWhite">
            <a:xfrm>
              <a:off x="5139787" y="1690530"/>
              <a:ext cx="497115" cy="651181"/>
            </a:xfrm>
            <a:custGeom>
              <a:avLst/>
              <a:gdLst>
                <a:gd name="T0" fmla="*/ 2147483647 w 329"/>
                <a:gd name="T1" fmla="*/ 2147483647 h 419"/>
                <a:gd name="T2" fmla="*/ 2147483647 w 329"/>
                <a:gd name="T3" fmla="*/ 2147483647 h 419"/>
                <a:gd name="T4" fmla="*/ 2147483647 w 329"/>
                <a:gd name="T5" fmla="*/ 2147483647 h 419"/>
                <a:gd name="T6" fmla="*/ 2147483647 w 329"/>
                <a:gd name="T7" fmla="*/ 2147483647 h 419"/>
                <a:gd name="T8" fmla="*/ 2147483647 w 329"/>
                <a:gd name="T9" fmla="*/ 2147483647 h 419"/>
                <a:gd name="T10" fmla="*/ 2147483647 w 329"/>
                <a:gd name="T11" fmla="*/ 2147483647 h 419"/>
                <a:gd name="T12" fmla="*/ 2147483647 w 329"/>
                <a:gd name="T13" fmla="*/ 2147483647 h 419"/>
                <a:gd name="T14" fmla="*/ 2147483647 w 329"/>
                <a:gd name="T15" fmla="*/ 2147483647 h 419"/>
                <a:gd name="T16" fmla="*/ 2147483647 w 329"/>
                <a:gd name="T17" fmla="*/ 2147483647 h 419"/>
                <a:gd name="T18" fmla="*/ 2147483647 w 329"/>
                <a:gd name="T19" fmla="*/ 2147483647 h 419"/>
                <a:gd name="T20" fmla="*/ 2147483647 w 329"/>
                <a:gd name="T21" fmla="*/ 2147483647 h 419"/>
                <a:gd name="T22" fmla="*/ 2147483647 w 329"/>
                <a:gd name="T23" fmla="*/ 2147483647 h 419"/>
                <a:gd name="T24" fmla="*/ 2147483647 w 329"/>
                <a:gd name="T25" fmla="*/ 2147483647 h 419"/>
                <a:gd name="T26" fmla="*/ 2147483647 w 329"/>
                <a:gd name="T27" fmla="*/ 2147483647 h 419"/>
                <a:gd name="T28" fmla="*/ 2147483647 w 329"/>
                <a:gd name="T29" fmla="*/ 2147483647 h 419"/>
                <a:gd name="T30" fmla="*/ 2147483647 w 329"/>
                <a:gd name="T31" fmla="*/ 2147483647 h 419"/>
                <a:gd name="T32" fmla="*/ 2147483647 w 329"/>
                <a:gd name="T33" fmla="*/ 2147483647 h 419"/>
                <a:gd name="T34" fmla="*/ 2147483647 w 329"/>
                <a:gd name="T35" fmla="*/ 2147483647 h 419"/>
                <a:gd name="T36" fmla="*/ 2147483647 w 329"/>
                <a:gd name="T37" fmla="*/ 2147483647 h 419"/>
                <a:gd name="T38" fmla="*/ 0 w 329"/>
                <a:gd name="T39" fmla="*/ 2147483647 h 419"/>
                <a:gd name="T40" fmla="*/ 2147483647 w 329"/>
                <a:gd name="T41" fmla="*/ 2147483647 h 419"/>
                <a:gd name="T42" fmla="*/ 2147483647 w 329"/>
                <a:gd name="T43" fmla="*/ 2147483647 h 419"/>
                <a:gd name="T44" fmla="*/ 2147483647 w 329"/>
                <a:gd name="T45" fmla="*/ 2147483647 h 419"/>
                <a:gd name="T46" fmla="*/ 2147483647 w 329"/>
                <a:gd name="T47" fmla="*/ 2147483647 h 419"/>
                <a:gd name="T48" fmla="*/ 2147483647 w 329"/>
                <a:gd name="T49" fmla="*/ 2147483647 h 419"/>
                <a:gd name="T50" fmla="*/ 2147483647 w 329"/>
                <a:gd name="T51" fmla="*/ 2147483647 h 419"/>
                <a:gd name="T52" fmla="*/ 2147483647 w 329"/>
                <a:gd name="T53" fmla="*/ 0 h 419"/>
                <a:gd name="T54" fmla="*/ 2147483647 w 329"/>
                <a:gd name="T55" fmla="*/ 2147483647 h 419"/>
                <a:gd name="T56" fmla="*/ 2147483647 w 329"/>
                <a:gd name="T57" fmla="*/ 2147483647 h 419"/>
                <a:gd name="T58" fmla="*/ 2147483647 w 329"/>
                <a:gd name="T59" fmla="*/ 2147483647 h 419"/>
                <a:gd name="T60" fmla="*/ 2147483647 w 329"/>
                <a:gd name="T61" fmla="*/ 2147483647 h 419"/>
                <a:gd name="T62" fmla="*/ 2147483647 w 329"/>
                <a:gd name="T63" fmla="*/ 2147483647 h 419"/>
                <a:gd name="T64" fmla="*/ 2147483647 w 329"/>
                <a:gd name="T65" fmla="*/ 2147483647 h 419"/>
                <a:gd name="T66" fmla="*/ 2147483647 w 329"/>
                <a:gd name="T67" fmla="*/ 2147483647 h 419"/>
                <a:gd name="T68" fmla="*/ 2147483647 w 329"/>
                <a:gd name="T69" fmla="*/ 2147483647 h 419"/>
                <a:gd name="T70" fmla="*/ 2147483647 w 329"/>
                <a:gd name="T71" fmla="*/ 2147483647 h 4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9"/>
                <a:gd name="T109" fmla="*/ 0 h 419"/>
                <a:gd name="T110" fmla="*/ 329 w 329"/>
                <a:gd name="T111" fmla="*/ 419 h 4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9" h="419">
                  <a:moveTo>
                    <a:pt x="328" y="343"/>
                  </a:moveTo>
                  <a:lnTo>
                    <a:pt x="270" y="343"/>
                  </a:lnTo>
                  <a:lnTo>
                    <a:pt x="250" y="357"/>
                  </a:lnTo>
                  <a:lnTo>
                    <a:pt x="250" y="377"/>
                  </a:lnTo>
                  <a:lnTo>
                    <a:pt x="231" y="397"/>
                  </a:lnTo>
                  <a:lnTo>
                    <a:pt x="218" y="397"/>
                  </a:lnTo>
                  <a:lnTo>
                    <a:pt x="199" y="377"/>
                  </a:lnTo>
                  <a:lnTo>
                    <a:pt x="180" y="377"/>
                  </a:lnTo>
                  <a:lnTo>
                    <a:pt x="160" y="418"/>
                  </a:lnTo>
                  <a:lnTo>
                    <a:pt x="122" y="397"/>
                  </a:lnTo>
                  <a:lnTo>
                    <a:pt x="109" y="377"/>
                  </a:lnTo>
                  <a:lnTo>
                    <a:pt x="122" y="357"/>
                  </a:lnTo>
                  <a:lnTo>
                    <a:pt x="122" y="303"/>
                  </a:lnTo>
                  <a:lnTo>
                    <a:pt x="109" y="262"/>
                  </a:lnTo>
                  <a:lnTo>
                    <a:pt x="109" y="228"/>
                  </a:lnTo>
                  <a:lnTo>
                    <a:pt x="90" y="208"/>
                  </a:lnTo>
                  <a:lnTo>
                    <a:pt x="51" y="188"/>
                  </a:lnTo>
                  <a:lnTo>
                    <a:pt x="32" y="147"/>
                  </a:lnTo>
                  <a:lnTo>
                    <a:pt x="32" y="114"/>
                  </a:lnTo>
                  <a:lnTo>
                    <a:pt x="0" y="93"/>
                  </a:lnTo>
                  <a:lnTo>
                    <a:pt x="12" y="73"/>
                  </a:lnTo>
                  <a:lnTo>
                    <a:pt x="90" y="93"/>
                  </a:lnTo>
                  <a:lnTo>
                    <a:pt x="109" y="93"/>
                  </a:lnTo>
                  <a:lnTo>
                    <a:pt x="122" y="114"/>
                  </a:lnTo>
                  <a:lnTo>
                    <a:pt x="141" y="73"/>
                  </a:lnTo>
                  <a:lnTo>
                    <a:pt x="218" y="32"/>
                  </a:lnTo>
                  <a:lnTo>
                    <a:pt x="218" y="0"/>
                  </a:lnTo>
                  <a:lnTo>
                    <a:pt x="250" y="13"/>
                  </a:lnTo>
                  <a:lnTo>
                    <a:pt x="250" y="53"/>
                  </a:lnTo>
                  <a:lnTo>
                    <a:pt x="270" y="53"/>
                  </a:lnTo>
                  <a:lnTo>
                    <a:pt x="289" y="93"/>
                  </a:lnTo>
                  <a:lnTo>
                    <a:pt x="270" y="147"/>
                  </a:lnTo>
                  <a:lnTo>
                    <a:pt x="289" y="228"/>
                  </a:lnTo>
                  <a:lnTo>
                    <a:pt x="308" y="242"/>
                  </a:lnTo>
                  <a:lnTo>
                    <a:pt x="328" y="303"/>
                  </a:lnTo>
                  <a:lnTo>
                    <a:pt x="328" y="343"/>
                  </a:lnTo>
                </a:path>
              </a:pathLst>
            </a:custGeom>
            <a:solidFill>
              <a:schemeClr val="accent5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>
              <a:innerShdw blurRad="495300">
                <a:prstClr val="black">
                  <a:alpha val="37000"/>
                </a:prstClr>
              </a:innerShdw>
            </a:effectLst>
          </p:spPr>
          <p:txBody>
            <a:bodyPr/>
            <a:lstStyle/>
            <a:p>
              <a:endParaRPr lang="pt-BR" sz="1600" kern="0" dirty="0">
                <a:solidFill>
                  <a:sysClr val="window" lastClr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75" name="Agrupar 274"/>
          <p:cNvGrpSpPr/>
          <p:nvPr/>
        </p:nvGrpSpPr>
        <p:grpSpPr>
          <a:xfrm>
            <a:off x="8356708" y="1236993"/>
            <a:ext cx="3393808" cy="3748795"/>
            <a:chOff x="8356708" y="1695288"/>
            <a:chExt cx="3393808" cy="3748795"/>
          </a:xfrm>
        </p:grpSpPr>
        <p:grpSp>
          <p:nvGrpSpPr>
            <p:cNvPr id="235" name="Agrupar 234"/>
            <p:cNvGrpSpPr/>
            <p:nvPr/>
          </p:nvGrpSpPr>
          <p:grpSpPr>
            <a:xfrm>
              <a:off x="8356708" y="1824743"/>
              <a:ext cx="3393808" cy="3619340"/>
              <a:chOff x="430910" y="1490165"/>
              <a:chExt cx="3393808" cy="3619340"/>
            </a:xfrm>
          </p:grpSpPr>
          <p:grpSp>
            <p:nvGrpSpPr>
              <p:cNvPr id="236" name="Agrupar 235"/>
              <p:cNvGrpSpPr/>
              <p:nvPr/>
            </p:nvGrpSpPr>
            <p:grpSpPr>
              <a:xfrm>
                <a:off x="430910" y="1490165"/>
                <a:ext cx="3393808" cy="3619340"/>
                <a:chOff x="430910" y="1490165"/>
                <a:chExt cx="3393808" cy="3619340"/>
              </a:xfrm>
            </p:grpSpPr>
            <p:sp>
              <p:nvSpPr>
                <p:cNvPr id="242" name="Freeform 65"/>
                <p:cNvSpPr>
                  <a:spLocks/>
                </p:cNvSpPr>
                <p:nvPr/>
              </p:nvSpPr>
              <p:spPr bwMode="blackWhite">
                <a:xfrm>
                  <a:off x="3217519" y="2133144"/>
                  <a:ext cx="389258" cy="447810"/>
                </a:xfrm>
                <a:custGeom>
                  <a:avLst/>
                  <a:gdLst>
                    <a:gd name="T0" fmla="*/ 2147483647 w 258"/>
                    <a:gd name="T1" fmla="*/ 2147483647 h 291"/>
                    <a:gd name="T2" fmla="*/ 2147483647 w 258"/>
                    <a:gd name="T3" fmla="*/ 2147483647 h 291"/>
                    <a:gd name="T4" fmla="*/ 2147483647 w 258"/>
                    <a:gd name="T5" fmla="*/ 2147483647 h 291"/>
                    <a:gd name="T6" fmla="*/ 2147483647 w 258"/>
                    <a:gd name="T7" fmla="*/ 2147483647 h 291"/>
                    <a:gd name="T8" fmla="*/ 2147483647 w 258"/>
                    <a:gd name="T9" fmla="*/ 0 h 291"/>
                    <a:gd name="T10" fmla="*/ 0 w 258"/>
                    <a:gd name="T11" fmla="*/ 0 h 291"/>
                    <a:gd name="T12" fmla="*/ 0 w 258"/>
                    <a:gd name="T13" fmla="*/ 2147483647 h 291"/>
                    <a:gd name="T14" fmla="*/ 0 w 258"/>
                    <a:gd name="T15" fmla="*/ 2147483647 h 291"/>
                    <a:gd name="T16" fmla="*/ 2147483647 w 258"/>
                    <a:gd name="T17" fmla="*/ 2147483647 h 291"/>
                    <a:gd name="T18" fmla="*/ 2147483647 w 258"/>
                    <a:gd name="T19" fmla="*/ 2147483647 h 291"/>
                    <a:gd name="T20" fmla="*/ 2147483647 w 258"/>
                    <a:gd name="T21" fmla="*/ 2147483647 h 291"/>
                    <a:gd name="T22" fmla="*/ 2147483647 w 258"/>
                    <a:gd name="T23" fmla="*/ 2147483647 h 291"/>
                    <a:gd name="T24" fmla="*/ 2147483647 w 258"/>
                    <a:gd name="T25" fmla="*/ 2147483647 h 291"/>
                    <a:gd name="T26" fmla="*/ 2147483647 w 258"/>
                    <a:gd name="T27" fmla="*/ 2147483647 h 291"/>
                    <a:gd name="T28" fmla="*/ 2147483647 w 258"/>
                    <a:gd name="T29" fmla="*/ 2147483647 h 291"/>
                    <a:gd name="T30" fmla="*/ 2147483647 w 258"/>
                    <a:gd name="T31" fmla="*/ 2147483647 h 291"/>
                    <a:gd name="T32" fmla="*/ 2147483647 w 258"/>
                    <a:gd name="T33" fmla="*/ 2147483647 h 291"/>
                    <a:gd name="T34" fmla="*/ 2147483647 w 258"/>
                    <a:gd name="T35" fmla="*/ 2147483647 h 291"/>
                    <a:gd name="T36" fmla="*/ 2147483647 w 258"/>
                    <a:gd name="T37" fmla="*/ 2147483647 h 291"/>
                    <a:gd name="T38" fmla="*/ 2147483647 w 258"/>
                    <a:gd name="T39" fmla="*/ 2147483647 h 291"/>
                    <a:gd name="T40" fmla="*/ 2147483647 w 258"/>
                    <a:gd name="T41" fmla="*/ 2147483647 h 29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58"/>
                    <a:gd name="T64" fmla="*/ 0 h 291"/>
                    <a:gd name="T65" fmla="*/ 258 w 258"/>
                    <a:gd name="T66" fmla="*/ 291 h 29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58" h="291">
                      <a:moveTo>
                        <a:pt x="257" y="94"/>
                      </a:moveTo>
                      <a:lnTo>
                        <a:pt x="199" y="60"/>
                      </a:lnTo>
                      <a:lnTo>
                        <a:pt x="186" y="60"/>
                      </a:lnTo>
                      <a:lnTo>
                        <a:pt x="147" y="20"/>
                      </a:lnTo>
                      <a:lnTo>
                        <a:pt x="89" y="0"/>
                      </a:ln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0" y="80"/>
                      </a:lnTo>
                      <a:lnTo>
                        <a:pt x="19" y="155"/>
                      </a:lnTo>
                      <a:lnTo>
                        <a:pt x="19" y="195"/>
                      </a:lnTo>
                      <a:lnTo>
                        <a:pt x="57" y="249"/>
                      </a:lnTo>
                      <a:lnTo>
                        <a:pt x="57" y="269"/>
                      </a:lnTo>
                      <a:lnTo>
                        <a:pt x="89" y="269"/>
                      </a:lnTo>
                      <a:lnTo>
                        <a:pt x="109" y="290"/>
                      </a:lnTo>
                      <a:lnTo>
                        <a:pt x="128" y="290"/>
                      </a:lnTo>
                      <a:lnTo>
                        <a:pt x="147" y="269"/>
                      </a:lnTo>
                      <a:lnTo>
                        <a:pt x="167" y="209"/>
                      </a:lnTo>
                      <a:lnTo>
                        <a:pt x="199" y="155"/>
                      </a:lnTo>
                      <a:lnTo>
                        <a:pt x="218" y="114"/>
                      </a:lnTo>
                      <a:lnTo>
                        <a:pt x="237" y="94"/>
                      </a:lnTo>
                      <a:lnTo>
                        <a:pt x="257" y="9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3" name="Freeform 66"/>
                <p:cNvSpPr>
                  <a:spLocks/>
                </p:cNvSpPr>
                <p:nvPr/>
              </p:nvSpPr>
              <p:spPr bwMode="blackWhite">
                <a:xfrm>
                  <a:off x="3454977" y="2271933"/>
                  <a:ext cx="332875" cy="208183"/>
                </a:xfrm>
                <a:custGeom>
                  <a:avLst/>
                  <a:gdLst>
                    <a:gd name="T0" fmla="*/ 2147483647 w 220"/>
                    <a:gd name="T1" fmla="*/ 2147483647 h 136"/>
                    <a:gd name="T2" fmla="*/ 2147483647 w 220"/>
                    <a:gd name="T3" fmla="*/ 2147483647 h 136"/>
                    <a:gd name="T4" fmla="*/ 2147483647 w 220"/>
                    <a:gd name="T5" fmla="*/ 2147483647 h 136"/>
                    <a:gd name="T6" fmla="*/ 2147483647 w 220"/>
                    <a:gd name="T7" fmla="*/ 2147483647 h 136"/>
                    <a:gd name="T8" fmla="*/ 2147483647 w 220"/>
                    <a:gd name="T9" fmla="*/ 0 h 136"/>
                    <a:gd name="T10" fmla="*/ 2147483647 w 220"/>
                    <a:gd name="T11" fmla="*/ 0 h 136"/>
                    <a:gd name="T12" fmla="*/ 2147483647 w 220"/>
                    <a:gd name="T13" fmla="*/ 2147483647 h 136"/>
                    <a:gd name="T14" fmla="*/ 2147483647 w 220"/>
                    <a:gd name="T15" fmla="*/ 2147483647 h 136"/>
                    <a:gd name="T16" fmla="*/ 0 w 220"/>
                    <a:gd name="T17" fmla="*/ 2147483647 h 136"/>
                    <a:gd name="T18" fmla="*/ 2147483647 w 220"/>
                    <a:gd name="T19" fmla="*/ 2147483647 h 136"/>
                    <a:gd name="T20" fmla="*/ 2147483647 w 220"/>
                    <a:gd name="T21" fmla="*/ 2147483647 h 136"/>
                    <a:gd name="T22" fmla="*/ 2147483647 w 220"/>
                    <a:gd name="T23" fmla="*/ 2147483647 h 136"/>
                    <a:gd name="T24" fmla="*/ 2147483647 w 220"/>
                    <a:gd name="T25" fmla="*/ 2147483647 h 136"/>
                    <a:gd name="T26" fmla="*/ 2147483647 w 220"/>
                    <a:gd name="T27" fmla="*/ 2147483647 h 136"/>
                    <a:gd name="T28" fmla="*/ 2147483647 w 220"/>
                    <a:gd name="T29" fmla="*/ 2147483647 h 136"/>
                    <a:gd name="T30" fmla="*/ 2147483647 w 220"/>
                    <a:gd name="T31" fmla="*/ 2147483647 h 136"/>
                    <a:gd name="T32" fmla="*/ 2147483647 w 220"/>
                    <a:gd name="T33" fmla="*/ 2147483647 h 136"/>
                    <a:gd name="T34" fmla="*/ 2147483647 w 220"/>
                    <a:gd name="T35" fmla="*/ 2147483647 h 136"/>
                    <a:gd name="T36" fmla="*/ 2147483647 w 220"/>
                    <a:gd name="T37" fmla="*/ 2147483647 h 1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20"/>
                    <a:gd name="T58" fmla="*/ 0 h 136"/>
                    <a:gd name="T59" fmla="*/ 220 w 220"/>
                    <a:gd name="T60" fmla="*/ 136 h 1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20" h="136">
                      <a:moveTo>
                        <a:pt x="219" y="114"/>
                      </a:move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41" y="20"/>
                      </a:lnTo>
                      <a:lnTo>
                        <a:pt x="90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32" y="60"/>
                      </a:lnTo>
                      <a:lnTo>
                        <a:pt x="0" y="114"/>
                      </a:lnTo>
                      <a:lnTo>
                        <a:pt x="19" y="114"/>
                      </a:lnTo>
                      <a:lnTo>
                        <a:pt x="51" y="101"/>
                      </a:lnTo>
                      <a:lnTo>
                        <a:pt x="70" y="81"/>
                      </a:lnTo>
                      <a:lnTo>
                        <a:pt x="90" y="101"/>
                      </a:lnTo>
                      <a:lnTo>
                        <a:pt x="51" y="135"/>
                      </a:lnTo>
                      <a:lnTo>
                        <a:pt x="128" y="135"/>
                      </a:lnTo>
                      <a:lnTo>
                        <a:pt x="128" y="101"/>
                      </a:lnTo>
                      <a:lnTo>
                        <a:pt x="141" y="101"/>
                      </a:lnTo>
                      <a:lnTo>
                        <a:pt x="161" y="114"/>
                      </a:lnTo>
                      <a:lnTo>
                        <a:pt x="219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4" name="Freeform 67"/>
                <p:cNvSpPr>
                  <a:spLocks/>
                </p:cNvSpPr>
                <p:nvPr/>
              </p:nvSpPr>
              <p:spPr bwMode="blackWhite">
                <a:xfrm>
                  <a:off x="2198292" y="3125265"/>
                  <a:ext cx="641896" cy="560575"/>
                </a:xfrm>
                <a:custGeom>
                  <a:avLst/>
                  <a:gdLst>
                    <a:gd name="T0" fmla="*/ 2147483647 w 425"/>
                    <a:gd name="T1" fmla="*/ 2147483647 h 365"/>
                    <a:gd name="T2" fmla="*/ 2147483647 w 425"/>
                    <a:gd name="T3" fmla="*/ 2147483647 h 365"/>
                    <a:gd name="T4" fmla="*/ 2147483647 w 425"/>
                    <a:gd name="T5" fmla="*/ 2147483647 h 365"/>
                    <a:gd name="T6" fmla="*/ 2147483647 w 425"/>
                    <a:gd name="T7" fmla="*/ 2147483647 h 365"/>
                    <a:gd name="T8" fmla="*/ 2147483647 w 425"/>
                    <a:gd name="T9" fmla="*/ 2147483647 h 365"/>
                    <a:gd name="T10" fmla="*/ 2147483647 w 425"/>
                    <a:gd name="T11" fmla="*/ 2147483647 h 365"/>
                    <a:gd name="T12" fmla="*/ 0 w 425"/>
                    <a:gd name="T13" fmla="*/ 2147483647 h 365"/>
                    <a:gd name="T14" fmla="*/ 0 w 425"/>
                    <a:gd name="T15" fmla="*/ 2147483647 h 365"/>
                    <a:gd name="T16" fmla="*/ 2147483647 w 425"/>
                    <a:gd name="T17" fmla="*/ 2147483647 h 365"/>
                    <a:gd name="T18" fmla="*/ 2147483647 w 425"/>
                    <a:gd name="T19" fmla="*/ 2147483647 h 365"/>
                    <a:gd name="T20" fmla="*/ 2147483647 w 425"/>
                    <a:gd name="T21" fmla="*/ 2147483647 h 365"/>
                    <a:gd name="T22" fmla="*/ 2147483647 w 425"/>
                    <a:gd name="T23" fmla="*/ 2147483647 h 365"/>
                    <a:gd name="T24" fmla="*/ 2147483647 w 425"/>
                    <a:gd name="T25" fmla="*/ 2147483647 h 365"/>
                    <a:gd name="T26" fmla="*/ 2147483647 w 425"/>
                    <a:gd name="T27" fmla="*/ 2147483647 h 365"/>
                    <a:gd name="T28" fmla="*/ 2147483647 w 425"/>
                    <a:gd name="T29" fmla="*/ 2147483647 h 365"/>
                    <a:gd name="T30" fmla="*/ 2147483647 w 425"/>
                    <a:gd name="T31" fmla="*/ 2147483647 h 365"/>
                    <a:gd name="T32" fmla="*/ 2147483647 w 425"/>
                    <a:gd name="T33" fmla="*/ 2147483647 h 365"/>
                    <a:gd name="T34" fmla="*/ 2147483647 w 425"/>
                    <a:gd name="T35" fmla="*/ 2147483647 h 365"/>
                    <a:gd name="T36" fmla="*/ 2147483647 w 425"/>
                    <a:gd name="T37" fmla="*/ 2147483647 h 365"/>
                    <a:gd name="T38" fmla="*/ 2147483647 w 425"/>
                    <a:gd name="T39" fmla="*/ 2147483647 h 365"/>
                    <a:gd name="T40" fmla="*/ 2147483647 w 425"/>
                    <a:gd name="T41" fmla="*/ 2147483647 h 365"/>
                    <a:gd name="T42" fmla="*/ 2147483647 w 425"/>
                    <a:gd name="T43" fmla="*/ 2147483647 h 365"/>
                    <a:gd name="T44" fmla="*/ 2147483647 w 425"/>
                    <a:gd name="T45" fmla="*/ 2147483647 h 365"/>
                    <a:gd name="T46" fmla="*/ 2147483647 w 425"/>
                    <a:gd name="T47" fmla="*/ 2147483647 h 365"/>
                    <a:gd name="T48" fmla="*/ 2147483647 w 425"/>
                    <a:gd name="T49" fmla="*/ 0 h 365"/>
                    <a:gd name="T50" fmla="*/ 2147483647 w 425"/>
                    <a:gd name="T51" fmla="*/ 2147483647 h 365"/>
                    <a:gd name="T52" fmla="*/ 2147483647 w 425"/>
                    <a:gd name="T53" fmla="*/ 2147483647 h 365"/>
                    <a:gd name="T54" fmla="*/ 2147483647 w 425"/>
                    <a:gd name="T55" fmla="*/ 2147483647 h 365"/>
                    <a:gd name="T56" fmla="*/ 2147483647 w 425"/>
                    <a:gd name="T57" fmla="*/ 0 h 365"/>
                    <a:gd name="T58" fmla="*/ 2147483647 w 425"/>
                    <a:gd name="T59" fmla="*/ 0 h 365"/>
                    <a:gd name="T60" fmla="*/ 2147483647 w 425"/>
                    <a:gd name="T61" fmla="*/ 2147483647 h 365"/>
                    <a:gd name="T62" fmla="*/ 2147483647 w 425"/>
                    <a:gd name="T63" fmla="*/ 2147483647 h 36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25"/>
                    <a:gd name="T97" fmla="*/ 0 h 365"/>
                    <a:gd name="T98" fmla="*/ 425 w 425"/>
                    <a:gd name="T99" fmla="*/ 365 h 36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25" h="365">
                      <a:moveTo>
                        <a:pt x="128" y="13"/>
                      </a:moveTo>
                      <a:lnTo>
                        <a:pt x="128" y="54"/>
                      </a:lnTo>
                      <a:lnTo>
                        <a:pt x="109" y="94"/>
                      </a:lnTo>
                      <a:lnTo>
                        <a:pt x="77" y="114"/>
                      </a:lnTo>
                      <a:lnTo>
                        <a:pt x="57" y="148"/>
                      </a:lnTo>
                      <a:lnTo>
                        <a:pt x="19" y="189"/>
                      </a:lnTo>
                      <a:lnTo>
                        <a:pt x="0" y="249"/>
                      </a:lnTo>
                      <a:lnTo>
                        <a:pt x="0" y="282"/>
                      </a:lnTo>
                      <a:lnTo>
                        <a:pt x="38" y="303"/>
                      </a:lnTo>
                      <a:lnTo>
                        <a:pt x="109" y="364"/>
                      </a:lnTo>
                      <a:lnTo>
                        <a:pt x="147" y="364"/>
                      </a:lnTo>
                      <a:lnTo>
                        <a:pt x="186" y="323"/>
                      </a:lnTo>
                      <a:lnTo>
                        <a:pt x="237" y="303"/>
                      </a:lnTo>
                      <a:lnTo>
                        <a:pt x="314" y="303"/>
                      </a:lnTo>
                      <a:lnTo>
                        <a:pt x="346" y="262"/>
                      </a:lnTo>
                      <a:lnTo>
                        <a:pt x="346" y="249"/>
                      </a:lnTo>
                      <a:lnTo>
                        <a:pt x="327" y="208"/>
                      </a:lnTo>
                      <a:lnTo>
                        <a:pt x="346" y="189"/>
                      </a:lnTo>
                      <a:lnTo>
                        <a:pt x="346" y="148"/>
                      </a:lnTo>
                      <a:lnTo>
                        <a:pt x="366" y="135"/>
                      </a:lnTo>
                      <a:lnTo>
                        <a:pt x="385" y="94"/>
                      </a:lnTo>
                      <a:lnTo>
                        <a:pt x="424" y="114"/>
                      </a:lnTo>
                      <a:lnTo>
                        <a:pt x="424" y="54"/>
                      </a:lnTo>
                      <a:lnTo>
                        <a:pt x="404" y="13"/>
                      </a:lnTo>
                      <a:lnTo>
                        <a:pt x="327" y="0"/>
                      </a:lnTo>
                      <a:lnTo>
                        <a:pt x="295" y="13"/>
                      </a:lnTo>
                      <a:lnTo>
                        <a:pt x="276" y="33"/>
                      </a:lnTo>
                      <a:lnTo>
                        <a:pt x="237" y="13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13"/>
                      </a:lnTo>
                      <a:lnTo>
                        <a:pt x="12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5" name="Freeform 5"/>
                <p:cNvSpPr>
                  <a:spLocks/>
                </p:cNvSpPr>
                <p:nvPr/>
              </p:nvSpPr>
              <p:spPr bwMode="blackWhite">
                <a:xfrm>
                  <a:off x="2120223" y="4013293"/>
                  <a:ext cx="555153" cy="387090"/>
                </a:xfrm>
                <a:custGeom>
                  <a:avLst/>
                  <a:gdLst>
                    <a:gd name="T0" fmla="*/ 2147483647 w 368"/>
                    <a:gd name="T1" fmla="*/ 2147483647 h 250"/>
                    <a:gd name="T2" fmla="*/ 2147483647 w 368"/>
                    <a:gd name="T3" fmla="*/ 2147483647 h 250"/>
                    <a:gd name="T4" fmla="*/ 2147483647 w 368"/>
                    <a:gd name="T5" fmla="*/ 2147483647 h 250"/>
                    <a:gd name="T6" fmla="*/ 2147483647 w 368"/>
                    <a:gd name="T7" fmla="*/ 2147483647 h 250"/>
                    <a:gd name="T8" fmla="*/ 2147483647 w 368"/>
                    <a:gd name="T9" fmla="*/ 2147483647 h 250"/>
                    <a:gd name="T10" fmla="*/ 2147483647 w 368"/>
                    <a:gd name="T11" fmla="*/ 2147483647 h 250"/>
                    <a:gd name="T12" fmla="*/ 2147483647 w 368"/>
                    <a:gd name="T13" fmla="*/ 2147483647 h 250"/>
                    <a:gd name="T14" fmla="*/ 2147483647 w 368"/>
                    <a:gd name="T15" fmla="*/ 2147483647 h 250"/>
                    <a:gd name="T16" fmla="*/ 2147483647 w 368"/>
                    <a:gd name="T17" fmla="*/ 2147483647 h 250"/>
                    <a:gd name="T18" fmla="*/ 2147483647 w 368"/>
                    <a:gd name="T19" fmla="*/ 2147483647 h 250"/>
                    <a:gd name="T20" fmla="*/ 2147483647 w 368"/>
                    <a:gd name="T21" fmla="*/ 2147483647 h 250"/>
                    <a:gd name="T22" fmla="*/ 2147483647 w 368"/>
                    <a:gd name="T23" fmla="*/ 2147483647 h 250"/>
                    <a:gd name="T24" fmla="*/ 2147483647 w 368"/>
                    <a:gd name="T25" fmla="*/ 2147483647 h 250"/>
                    <a:gd name="T26" fmla="*/ 2147483647 w 368"/>
                    <a:gd name="T27" fmla="*/ 2147483647 h 250"/>
                    <a:gd name="T28" fmla="*/ 2147483647 w 368"/>
                    <a:gd name="T29" fmla="*/ 2147483647 h 250"/>
                    <a:gd name="T30" fmla="*/ 2147483647 w 368"/>
                    <a:gd name="T31" fmla="*/ 2147483647 h 250"/>
                    <a:gd name="T32" fmla="*/ 2147483647 w 368"/>
                    <a:gd name="T33" fmla="*/ 2147483647 h 250"/>
                    <a:gd name="T34" fmla="*/ 2147483647 w 368"/>
                    <a:gd name="T35" fmla="*/ 0 h 250"/>
                    <a:gd name="T36" fmla="*/ 2147483647 w 368"/>
                    <a:gd name="T37" fmla="*/ 0 h 250"/>
                    <a:gd name="T38" fmla="*/ 2147483647 w 368"/>
                    <a:gd name="T39" fmla="*/ 2147483647 h 250"/>
                    <a:gd name="T40" fmla="*/ 2147483647 w 368"/>
                    <a:gd name="T41" fmla="*/ 2147483647 h 250"/>
                    <a:gd name="T42" fmla="*/ 2147483647 w 368"/>
                    <a:gd name="T43" fmla="*/ 2147483647 h 250"/>
                    <a:gd name="T44" fmla="*/ 2147483647 w 368"/>
                    <a:gd name="T45" fmla="*/ 2147483647 h 250"/>
                    <a:gd name="T46" fmla="*/ 0 w 368"/>
                    <a:gd name="T47" fmla="*/ 2147483647 h 250"/>
                    <a:gd name="T48" fmla="*/ 0 w 368"/>
                    <a:gd name="T49" fmla="*/ 2147483647 h 250"/>
                    <a:gd name="T50" fmla="*/ 2147483647 w 368"/>
                    <a:gd name="T51" fmla="*/ 2147483647 h 250"/>
                    <a:gd name="T52" fmla="*/ 2147483647 w 368"/>
                    <a:gd name="T53" fmla="*/ 2147483647 h 25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68"/>
                    <a:gd name="T82" fmla="*/ 0 h 250"/>
                    <a:gd name="T83" fmla="*/ 368 w 368"/>
                    <a:gd name="T84" fmla="*/ 250 h 25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68" h="250">
                      <a:moveTo>
                        <a:pt x="51" y="228"/>
                      </a:moveTo>
                      <a:lnTo>
                        <a:pt x="109" y="228"/>
                      </a:lnTo>
                      <a:lnTo>
                        <a:pt x="180" y="249"/>
                      </a:lnTo>
                      <a:lnTo>
                        <a:pt x="199" y="228"/>
                      </a:lnTo>
                      <a:lnTo>
                        <a:pt x="238" y="208"/>
                      </a:lnTo>
                      <a:lnTo>
                        <a:pt x="270" y="208"/>
                      </a:lnTo>
                      <a:lnTo>
                        <a:pt x="309" y="228"/>
                      </a:lnTo>
                      <a:lnTo>
                        <a:pt x="328" y="228"/>
                      </a:lnTo>
                      <a:lnTo>
                        <a:pt x="328" y="188"/>
                      </a:lnTo>
                      <a:lnTo>
                        <a:pt x="367" y="147"/>
                      </a:lnTo>
                      <a:lnTo>
                        <a:pt x="347" y="147"/>
                      </a:lnTo>
                      <a:lnTo>
                        <a:pt x="309" y="113"/>
                      </a:lnTo>
                      <a:lnTo>
                        <a:pt x="289" y="113"/>
                      </a:lnTo>
                      <a:lnTo>
                        <a:pt x="257" y="54"/>
                      </a:lnTo>
                      <a:lnTo>
                        <a:pt x="238" y="33"/>
                      </a:lnTo>
                      <a:lnTo>
                        <a:pt x="218" y="20"/>
                      </a:lnTo>
                      <a:lnTo>
                        <a:pt x="160" y="20"/>
                      </a:lnTo>
                      <a:lnTo>
                        <a:pt x="109" y="0"/>
                      </a:lnTo>
                      <a:lnTo>
                        <a:pt x="70" y="0"/>
                      </a:lnTo>
                      <a:lnTo>
                        <a:pt x="51" y="20"/>
                      </a:lnTo>
                      <a:lnTo>
                        <a:pt x="19" y="73"/>
                      </a:lnTo>
                      <a:lnTo>
                        <a:pt x="19" y="113"/>
                      </a:lnTo>
                      <a:lnTo>
                        <a:pt x="19" y="147"/>
                      </a:lnTo>
                      <a:lnTo>
                        <a:pt x="0" y="167"/>
                      </a:lnTo>
                      <a:lnTo>
                        <a:pt x="0" y="188"/>
                      </a:lnTo>
                      <a:lnTo>
                        <a:pt x="38" y="208"/>
                      </a:lnTo>
                      <a:lnTo>
                        <a:pt x="51" y="228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6" name="Freeform 6"/>
                <p:cNvSpPr>
                  <a:spLocks/>
                </p:cNvSpPr>
                <p:nvPr/>
              </p:nvSpPr>
              <p:spPr bwMode="blackWhite">
                <a:xfrm>
                  <a:off x="2228652" y="3738970"/>
                  <a:ext cx="721049" cy="505276"/>
                </a:xfrm>
                <a:custGeom>
                  <a:avLst/>
                  <a:gdLst>
                    <a:gd name="T0" fmla="*/ 2147483647 w 477"/>
                    <a:gd name="T1" fmla="*/ 2147483647 h 324"/>
                    <a:gd name="T2" fmla="*/ 2147483647 w 477"/>
                    <a:gd name="T3" fmla="*/ 2147483647 h 324"/>
                    <a:gd name="T4" fmla="*/ 2147483647 w 477"/>
                    <a:gd name="T5" fmla="*/ 2147483647 h 324"/>
                    <a:gd name="T6" fmla="*/ 2147483647 w 477"/>
                    <a:gd name="T7" fmla="*/ 2147483647 h 324"/>
                    <a:gd name="T8" fmla="*/ 2147483647 w 477"/>
                    <a:gd name="T9" fmla="*/ 2147483647 h 324"/>
                    <a:gd name="T10" fmla="*/ 2147483647 w 477"/>
                    <a:gd name="T11" fmla="*/ 2147483647 h 324"/>
                    <a:gd name="T12" fmla="*/ 2147483647 w 477"/>
                    <a:gd name="T13" fmla="*/ 2147483647 h 324"/>
                    <a:gd name="T14" fmla="*/ 2147483647 w 477"/>
                    <a:gd name="T15" fmla="*/ 2147483647 h 324"/>
                    <a:gd name="T16" fmla="*/ 2147483647 w 477"/>
                    <a:gd name="T17" fmla="*/ 2147483647 h 324"/>
                    <a:gd name="T18" fmla="*/ 2147483647 w 477"/>
                    <a:gd name="T19" fmla="*/ 2147483647 h 324"/>
                    <a:gd name="T20" fmla="*/ 2147483647 w 477"/>
                    <a:gd name="T21" fmla="*/ 2147483647 h 324"/>
                    <a:gd name="T22" fmla="*/ 2147483647 w 477"/>
                    <a:gd name="T23" fmla="*/ 0 h 324"/>
                    <a:gd name="T24" fmla="*/ 2147483647 w 477"/>
                    <a:gd name="T25" fmla="*/ 2147483647 h 324"/>
                    <a:gd name="T26" fmla="*/ 2147483647 w 477"/>
                    <a:gd name="T27" fmla="*/ 0 h 324"/>
                    <a:gd name="T28" fmla="*/ 2147483647 w 477"/>
                    <a:gd name="T29" fmla="*/ 0 h 324"/>
                    <a:gd name="T30" fmla="*/ 2147483647 w 477"/>
                    <a:gd name="T31" fmla="*/ 2147483647 h 324"/>
                    <a:gd name="T32" fmla="*/ 2147483647 w 477"/>
                    <a:gd name="T33" fmla="*/ 2147483647 h 324"/>
                    <a:gd name="T34" fmla="*/ 2147483647 w 477"/>
                    <a:gd name="T35" fmla="*/ 2147483647 h 324"/>
                    <a:gd name="T36" fmla="*/ 0 w 477"/>
                    <a:gd name="T37" fmla="*/ 2147483647 h 324"/>
                    <a:gd name="T38" fmla="*/ 2147483647 w 477"/>
                    <a:gd name="T39" fmla="*/ 2147483647 h 324"/>
                    <a:gd name="T40" fmla="*/ 2147483647 w 477"/>
                    <a:gd name="T41" fmla="*/ 2147483647 h 324"/>
                    <a:gd name="T42" fmla="*/ 2147483647 w 477"/>
                    <a:gd name="T43" fmla="*/ 2147483647 h 324"/>
                    <a:gd name="T44" fmla="*/ 2147483647 w 477"/>
                    <a:gd name="T45" fmla="*/ 2147483647 h 324"/>
                    <a:gd name="T46" fmla="*/ 2147483647 w 477"/>
                    <a:gd name="T47" fmla="*/ 2147483647 h 324"/>
                    <a:gd name="T48" fmla="*/ 2147483647 w 477"/>
                    <a:gd name="T49" fmla="*/ 2147483647 h 324"/>
                    <a:gd name="T50" fmla="*/ 2147483647 w 477"/>
                    <a:gd name="T51" fmla="*/ 2147483647 h 324"/>
                    <a:gd name="T52" fmla="*/ 2147483647 w 477"/>
                    <a:gd name="T53" fmla="*/ 2147483647 h 324"/>
                    <a:gd name="T54" fmla="*/ 2147483647 w 477"/>
                    <a:gd name="T55" fmla="*/ 2147483647 h 324"/>
                    <a:gd name="T56" fmla="*/ 2147483647 w 477"/>
                    <a:gd name="T57" fmla="*/ 2147483647 h 324"/>
                    <a:gd name="T58" fmla="*/ 2147483647 w 477"/>
                    <a:gd name="T59" fmla="*/ 2147483647 h 324"/>
                    <a:gd name="T60" fmla="*/ 2147483647 w 477"/>
                    <a:gd name="T61" fmla="*/ 2147483647 h 324"/>
                    <a:gd name="T62" fmla="*/ 2147483647 w 477"/>
                    <a:gd name="T63" fmla="*/ 2147483647 h 32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77"/>
                    <a:gd name="T97" fmla="*/ 0 h 324"/>
                    <a:gd name="T98" fmla="*/ 477 w 477"/>
                    <a:gd name="T99" fmla="*/ 324 h 32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77" h="324">
                      <a:moveTo>
                        <a:pt x="456" y="209"/>
                      </a:moveTo>
                      <a:lnTo>
                        <a:pt x="456" y="195"/>
                      </a:lnTo>
                      <a:lnTo>
                        <a:pt x="476" y="175"/>
                      </a:lnTo>
                      <a:lnTo>
                        <a:pt x="437" y="175"/>
                      </a:lnTo>
                      <a:lnTo>
                        <a:pt x="405" y="175"/>
                      </a:lnTo>
                      <a:lnTo>
                        <a:pt x="366" y="155"/>
                      </a:lnTo>
                      <a:lnTo>
                        <a:pt x="347" y="114"/>
                      </a:lnTo>
                      <a:lnTo>
                        <a:pt x="347" y="94"/>
                      </a:lnTo>
                      <a:lnTo>
                        <a:pt x="328" y="80"/>
                      </a:lnTo>
                      <a:lnTo>
                        <a:pt x="328" y="40"/>
                      </a:lnTo>
                      <a:lnTo>
                        <a:pt x="308" y="20"/>
                      </a:lnTo>
                      <a:lnTo>
                        <a:pt x="276" y="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28" y="0"/>
                      </a:lnTo>
                      <a:lnTo>
                        <a:pt x="90" y="60"/>
                      </a:lnTo>
                      <a:lnTo>
                        <a:pt x="57" y="114"/>
                      </a:lnTo>
                      <a:lnTo>
                        <a:pt x="19" y="155"/>
                      </a:lnTo>
                      <a:lnTo>
                        <a:pt x="0" y="175"/>
                      </a:lnTo>
                      <a:lnTo>
                        <a:pt x="38" y="175"/>
                      </a:lnTo>
                      <a:lnTo>
                        <a:pt x="90" y="195"/>
                      </a:lnTo>
                      <a:lnTo>
                        <a:pt x="147" y="195"/>
                      </a:lnTo>
                      <a:lnTo>
                        <a:pt x="167" y="209"/>
                      </a:lnTo>
                      <a:lnTo>
                        <a:pt x="186" y="229"/>
                      </a:lnTo>
                      <a:lnTo>
                        <a:pt x="218" y="289"/>
                      </a:lnTo>
                      <a:lnTo>
                        <a:pt x="238" y="289"/>
                      </a:lnTo>
                      <a:lnTo>
                        <a:pt x="276" y="323"/>
                      </a:lnTo>
                      <a:lnTo>
                        <a:pt x="295" y="323"/>
                      </a:lnTo>
                      <a:lnTo>
                        <a:pt x="308" y="309"/>
                      </a:lnTo>
                      <a:lnTo>
                        <a:pt x="366" y="269"/>
                      </a:lnTo>
                      <a:lnTo>
                        <a:pt x="418" y="229"/>
                      </a:lnTo>
                      <a:lnTo>
                        <a:pt x="456" y="209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7" name="Freeform 7"/>
                <p:cNvSpPr>
                  <a:spLocks/>
                </p:cNvSpPr>
                <p:nvPr/>
              </p:nvSpPr>
              <p:spPr bwMode="blackWhite">
                <a:xfrm>
                  <a:off x="2201544" y="4332072"/>
                  <a:ext cx="416365" cy="325285"/>
                </a:xfrm>
                <a:custGeom>
                  <a:avLst/>
                  <a:gdLst>
                    <a:gd name="T0" fmla="*/ 2147483647 w 277"/>
                    <a:gd name="T1" fmla="*/ 2147483647 h 210"/>
                    <a:gd name="T2" fmla="*/ 2147483647 w 277"/>
                    <a:gd name="T3" fmla="*/ 2147483647 h 210"/>
                    <a:gd name="T4" fmla="*/ 2147483647 w 277"/>
                    <a:gd name="T5" fmla="*/ 2147483647 h 210"/>
                    <a:gd name="T6" fmla="*/ 2147483647 w 277"/>
                    <a:gd name="T7" fmla="*/ 2147483647 h 210"/>
                    <a:gd name="T8" fmla="*/ 2147483647 w 277"/>
                    <a:gd name="T9" fmla="*/ 2147483647 h 210"/>
                    <a:gd name="T10" fmla="*/ 2147483647 w 277"/>
                    <a:gd name="T11" fmla="*/ 0 h 210"/>
                    <a:gd name="T12" fmla="*/ 2147483647 w 277"/>
                    <a:gd name="T13" fmla="*/ 0 h 210"/>
                    <a:gd name="T14" fmla="*/ 2147483647 w 277"/>
                    <a:gd name="T15" fmla="*/ 2147483647 h 210"/>
                    <a:gd name="T16" fmla="*/ 2147483647 w 277"/>
                    <a:gd name="T17" fmla="*/ 2147483647 h 210"/>
                    <a:gd name="T18" fmla="*/ 2147483647 w 277"/>
                    <a:gd name="T19" fmla="*/ 2147483647 h 210"/>
                    <a:gd name="T20" fmla="*/ 0 w 277"/>
                    <a:gd name="T21" fmla="*/ 2147483647 h 210"/>
                    <a:gd name="T22" fmla="*/ 0 w 277"/>
                    <a:gd name="T23" fmla="*/ 2147483647 h 210"/>
                    <a:gd name="T24" fmla="*/ 2147483647 w 277"/>
                    <a:gd name="T25" fmla="*/ 2147483647 h 210"/>
                    <a:gd name="T26" fmla="*/ 2147483647 w 277"/>
                    <a:gd name="T27" fmla="*/ 2147483647 h 210"/>
                    <a:gd name="T28" fmla="*/ 2147483647 w 277"/>
                    <a:gd name="T29" fmla="*/ 2147483647 h 210"/>
                    <a:gd name="T30" fmla="*/ 2147483647 w 277"/>
                    <a:gd name="T31" fmla="*/ 2147483647 h 210"/>
                    <a:gd name="T32" fmla="*/ 2147483647 w 277"/>
                    <a:gd name="T33" fmla="*/ 2147483647 h 210"/>
                    <a:gd name="T34" fmla="*/ 2147483647 w 277"/>
                    <a:gd name="T35" fmla="*/ 2147483647 h 210"/>
                    <a:gd name="T36" fmla="*/ 2147483647 w 277"/>
                    <a:gd name="T37" fmla="*/ 2147483647 h 210"/>
                    <a:gd name="T38" fmla="*/ 2147483647 w 277"/>
                    <a:gd name="T39" fmla="*/ 2147483647 h 2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77"/>
                    <a:gd name="T61" fmla="*/ 0 h 210"/>
                    <a:gd name="T62" fmla="*/ 277 w 277"/>
                    <a:gd name="T63" fmla="*/ 210 h 2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77" h="210">
                      <a:moveTo>
                        <a:pt x="218" y="209"/>
                      </a:moveTo>
                      <a:lnTo>
                        <a:pt x="256" y="155"/>
                      </a:lnTo>
                      <a:lnTo>
                        <a:pt x="276" y="74"/>
                      </a:lnTo>
                      <a:lnTo>
                        <a:pt x="276" y="20"/>
                      </a:lnTo>
                      <a:lnTo>
                        <a:pt x="256" y="20"/>
                      </a:lnTo>
                      <a:lnTo>
                        <a:pt x="218" y="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28" y="40"/>
                      </a:lnTo>
                      <a:lnTo>
                        <a:pt x="57" y="20"/>
                      </a:lnTo>
                      <a:lnTo>
                        <a:pt x="0" y="20"/>
                      </a:lnTo>
                      <a:lnTo>
                        <a:pt x="0" y="74"/>
                      </a:lnTo>
                      <a:lnTo>
                        <a:pt x="57" y="74"/>
                      </a:lnTo>
                      <a:lnTo>
                        <a:pt x="109" y="94"/>
                      </a:lnTo>
                      <a:lnTo>
                        <a:pt x="128" y="114"/>
                      </a:lnTo>
                      <a:lnTo>
                        <a:pt x="166" y="134"/>
                      </a:lnTo>
                      <a:lnTo>
                        <a:pt x="186" y="155"/>
                      </a:lnTo>
                      <a:lnTo>
                        <a:pt x="205" y="155"/>
                      </a:lnTo>
                      <a:lnTo>
                        <a:pt x="205" y="188"/>
                      </a:lnTo>
                      <a:lnTo>
                        <a:pt x="218" y="209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8" name="Freeform 8"/>
                <p:cNvSpPr>
                  <a:spLocks/>
                </p:cNvSpPr>
                <p:nvPr/>
              </p:nvSpPr>
              <p:spPr bwMode="blackWhite">
                <a:xfrm>
                  <a:off x="2888981" y="3833302"/>
                  <a:ext cx="387090" cy="229868"/>
                </a:xfrm>
                <a:custGeom>
                  <a:avLst/>
                  <a:gdLst>
                    <a:gd name="T0" fmla="*/ 2147483647 w 257"/>
                    <a:gd name="T1" fmla="*/ 2147483647 h 149"/>
                    <a:gd name="T2" fmla="*/ 2147483647 w 257"/>
                    <a:gd name="T3" fmla="*/ 2147483647 h 149"/>
                    <a:gd name="T4" fmla="*/ 2147483647 w 257"/>
                    <a:gd name="T5" fmla="*/ 2147483647 h 149"/>
                    <a:gd name="T6" fmla="*/ 0 w 257"/>
                    <a:gd name="T7" fmla="*/ 2147483647 h 149"/>
                    <a:gd name="T8" fmla="*/ 2147483647 w 257"/>
                    <a:gd name="T9" fmla="*/ 2147483647 h 149"/>
                    <a:gd name="T10" fmla="*/ 2147483647 w 257"/>
                    <a:gd name="T11" fmla="*/ 2147483647 h 149"/>
                    <a:gd name="T12" fmla="*/ 2147483647 w 257"/>
                    <a:gd name="T13" fmla="*/ 2147483647 h 149"/>
                    <a:gd name="T14" fmla="*/ 2147483647 w 257"/>
                    <a:gd name="T15" fmla="*/ 2147483647 h 149"/>
                    <a:gd name="T16" fmla="*/ 2147483647 w 257"/>
                    <a:gd name="T17" fmla="*/ 2147483647 h 149"/>
                    <a:gd name="T18" fmla="*/ 2147483647 w 257"/>
                    <a:gd name="T19" fmla="*/ 0 h 149"/>
                    <a:gd name="T20" fmla="*/ 2147483647 w 257"/>
                    <a:gd name="T21" fmla="*/ 2147483647 h 149"/>
                    <a:gd name="T22" fmla="*/ 2147483647 w 257"/>
                    <a:gd name="T23" fmla="*/ 2147483647 h 149"/>
                    <a:gd name="T24" fmla="*/ 2147483647 w 257"/>
                    <a:gd name="T25" fmla="*/ 2147483647 h 149"/>
                    <a:gd name="T26" fmla="*/ 2147483647 w 257"/>
                    <a:gd name="T27" fmla="*/ 2147483647 h 149"/>
                    <a:gd name="T28" fmla="*/ 2147483647 w 257"/>
                    <a:gd name="T29" fmla="*/ 2147483647 h 149"/>
                    <a:gd name="T30" fmla="*/ 2147483647 w 257"/>
                    <a:gd name="T31" fmla="*/ 2147483647 h 149"/>
                    <a:gd name="T32" fmla="*/ 2147483647 w 257"/>
                    <a:gd name="T33" fmla="*/ 2147483647 h 149"/>
                    <a:gd name="T34" fmla="*/ 2147483647 w 257"/>
                    <a:gd name="T35" fmla="*/ 2147483647 h 14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57"/>
                    <a:gd name="T55" fmla="*/ 0 h 149"/>
                    <a:gd name="T56" fmla="*/ 257 w 257"/>
                    <a:gd name="T57" fmla="*/ 149 h 14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57" h="149">
                      <a:moveTo>
                        <a:pt x="19" y="148"/>
                      </a:moveTo>
                      <a:lnTo>
                        <a:pt x="19" y="134"/>
                      </a:lnTo>
                      <a:lnTo>
                        <a:pt x="38" y="114"/>
                      </a:lnTo>
                      <a:lnTo>
                        <a:pt x="0" y="114"/>
                      </a:lnTo>
                      <a:lnTo>
                        <a:pt x="38" y="94"/>
                      </a:lnTo>
                      <a:lnTo>
                        <a:pt x="76" y="74"/>
                      </a:lnTo>
                      <a:lnTo>
                        <a:pt x="108" y="74"/>
                      </a:lnTo>
                      <a:lnTo>
                        <a:pt x="146" y="53"/>
                      </a:lnTo>
                      <a:lnTo>
                        <a:pt x="166" y="20"/>
                      </a:lnTo>
                      <a:lnTo>
                        <a:pt x="185" y="0"/>
                      </a:lnTo>
                      <a:lnTo>
                        <a:pt x="198" y="33"/>
                      </a:lnTo>
                      <a:lnTo>
                        <a:pt x="256" y="33"/>
                      </a:lnTo>
                      <a:lnTo>
                        <a:pt x="236" y="53"/>
                      </a:lnTo>
                      <a:lnTo>
                        <a:pt x="236" y="74"/>
                      </a:lnTo>
                      <a:lnTo>
                        <a:pt x="198" y="94"/>
                      </a:lnTo>
                      <a:lnTo>
                        <a:pt x="185" y="134"/>
                      </a:lnTo>
                      <a:lnTo>
                        <a:pt x="89" y="134"/>
                      </a:lnTo>
                      <a:lnTo>
                        <a:pt x="19" y="14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9" name="Freeform 9"/>
                <p:cNvSpPr>
                  <a:spLocks/>
                </p:cNvSpPr>
                <p:nvPr/>
              </p:nvSpPr>
              <p:spPr bwMode="blackWhite">
                <a:xfrm>
                  <a:off x="3167641" y="3566569"/>
                  <a:ext cx="216857" cy="329622"/>
                </a:xfrm>
                <a:custGeom>
                  <a:avLst/>
                  <a:gdLst>
                    <a:gd name="T0" fmla="*/ 2147483647 w 142"/>
                    <a:gd name="T1" fmla="*/ 2147483647 h 211"/>
                    <a:gd name="T2" fmla="*/ 2147483647 w 142"/>
                    <a:gd name="T3" fmla="*/ 2147483647 h 211"/>
                    <a:gd name="T4" fmla="*/ 2147483647 w 142"/>
                    <a:gd name="T5" fmla="*/ 2147483647 h 211"/>
                    <a:gd name="T6" fmla="*/ 2147483647 w 142"/>
                    <a:gd name="T7" fmla="*/ 2147483647 h 211"/>
                    <a:gd name="T8" fmla="*/ 2147483647 w 142"/>
                    <a:gd name="T9" fmla="*/ 0 h 211"/>
                    <a:gd name="T10" fmla="*/ 2147483647 w 142"/>
                    <a:gd name="T11" fmla="*/ 0 h 211"/>
                    <a:gd name="T12" fmla="*/ 2147483647 w 142"/>
                    <a:gd name="T13" fmla="*/ 2147483647 h 211"/>
                    <a:gd name="T14" fmla="*/ 2147483647 w 142"/>
                    <a:gd name="T15" fmla="*/ 2147483647 h 211"/>
                    <a:gd name="T16" fmla="*/ 2147483647 w 142"/>
                    <a:gd name="T17" fmla="*/ 2147483647 h 211"/>
                    <a:gd name="T18" fmla="*/ 2147483647 w 142"/>
                    <a:gd name="T19" fmla="*/ 2147483647 h 211"/>
                    <a:gd name="T20" fmla="*/ 2147483647 w 142"/>
                    <a:gd name="T21" fmla="*/ 2147483647 h 211"/>
                    <a:gd name="T22" fmla="*/ 0 w 142"/>
                    <a:gd name="T23" fmla="*/ 2147483647 h 211"/>
                    <a:gd name="T24" fmla="*/ 2147483647 w 142"/>
                    <a:gd name="T25" fmla="*/ 2147483647 h 211"/>
                    <a:gd name="T26" fmla="*/ 2147483647 w 142"/>
                    <a:gd name="T27" fmla="*/ 2147483647 h 2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2"/>
                    <a:gd name="T43" fmla="*/ 0 h 211"/>
                    <a:gd name="T44" fmla="*/ 142 w 142"/>
                    <a:gd name="T45" fmla="*/ 211 h 2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2" h="211">
                      <a:moveTo>
                        <a:pt x="70" y="210"/>
                      </a:moveTo>
                      <a:lnTo>
                        <a:pt x="108" y="135"/>
                      </a:lnTo>
                      <a:lnTo>
                        <a:pt x="121" y="60"/>
                      </a:lnTo>
                      <a:lnTo>
                        <a:pt x="141" y="20"/>
                      </a:lnTo>
                      <a:lnTo>
                        <a:pt x="121" y="0"/>
                      </a:lnTo>
                      <a:lnTo>
                        <a:pt x="89" y="0"/>
                      </a:lnTo>
                      <a:lnTo>
                        <a:pt x="70" y="20"/>
                      </a:lnTo>
                      <a:lnTo>
                        <a:pt x="70" y="40"/>
                      </a:lnTo>
                      <a:lnTo>
                        <a:pt x="51" y="81"/>
                      </a:lnTo>
                      <a:lnTo>
                        <a:pt x="51" y="94"/>
                      </a:lnTo>
                      <a:lnTo>
                        <a:pt x="12" y="135"/>
                      </a:lnTo>
                      <a:lnTo>
                        <a:pt x="0" y="176"/>
                      </a:lnTo>
                      <a:lnTo>
                        <a:pt x="12" y="210"/>
                      </a:lnTo>
                      <a:lnTo>
                        <a:pt x="70" y="210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0" name="Freeform 10"/>
                <p:cNvSpPr>
                  <a:spLocks/>
                </p:cNvSpPr>
                <p:nvPr/>
              </p:nvSpPr>
              <p:spPr bwMode="blackWhite">
                <a:xfrm>
                  <a:off x="2421654" y="3240199"/>
                  <a:ext cx="962844" cy="773095"/>
                </a:xfrm>
                <a:custGeom>
                  <a:avLst/>
                  <a:gdLst>
                    <a:gd name="T0" fmla="*/ 2147483647 w 637"/>
                    <a:gd name="T1" fmla="*/ 2147483647 h 500"/>
                    <a:gd name="T2" fmla="*/ 2147483647 w 637"/>
                    <a:gd name="T3" fmla="*/ 2147483647 h 500"/>
                    <a:gd name="T4" fmla="*/ 2147483647 w 637"/>
                    <a:gd name="T5" fmla="*/ 2147483647 h 500"/>
                    <a:gd name="T6" fmla="*/ 2147483647 w 637"/>
                    <a:gd name="T7" fmla="*/ 2147483647 h 500"/>
                    <a:gd name="T8" fmla="*/ 2147483647 w 637"/>
                    <a:gd name="T9" fmla="*/ 2147483647 h 500"/>
                    <a:gd name="T10" fmla="*/ 2147483647 w 637"/>
                    <a:gd name="T11" fmla="*/ 2147483647 h 500"/>
                    <a:gd name="T12" fmla="*/ 2147483647 w 637"/>
                    <a:gd name="T13" fmla="*/ 2147483647 h 500"/>
                    <a:gd name="T14" fmla="*/ 2147483647 w 637"/>
                    <a:gd name="T15" fmla="*/ 2147483647 h 500"/>
                    <a:gd name="T16" fmla="*/ 2147483647 w 637"/>
                    <a:gd name="T17" fmla="*/ 2147483647 h 500"/>
                    <a:gd name="T18" fmla="*/ 2147483647 w 637"/>
                    <a:gd name="T19" fmla="*/ 2147483647 h 500"/>
                    <a:gd name="T20" fmla="*/ 2147483647 w 637"/>
                    <a:gd name="T21" fmla="*/ 2147483647 h 500"/>
                    <a:gd name="T22" fmla="*/ 2147483647 w 637"/>
                    <a:gd name="T23" fmla="*/ 0 h 500"/>
                    <a:gd name="T24" fmla="*/ 2147483647 w 637"/>
                    <a:gd name="T25" fmla="*/ 0 h 500"/>
                    <a:gd name="T26" fmla="*/ 2147483647 w 637"/>
                    <a:gd name="T27" fmla="*/ 2147483647 h 500"/>
                    <a:gd name="T28" fmla="*/ 2147483647 w 637"/>
                    <a:gd name="T29" fmla="*/ 2147483647 h 500"/>
                    <a:gd name="T30" fmla="*/ 2147483647 w 637"/>
                    <a:gd name="T31" fmla="*/ 2147483647 h 500"/>
                    <a:gd name="T32" fmla="*/ 2147483647 w 637"/>
                    <a:gd name="T33" fmla="*/ 2147483647 h 500"/>
                    <a:gd name="T34" fmla="*/ 2147483647 w 637"/>
                    <a:gd name="T35" fmla="*/ 2147483647 h 500"/>
                    <a:gd name="T36" fmla="*/ 2147483647 w 637"/>
                    <a:gd name="T37" fmla="*/ 2147483647 h 500"/>
                    <a:gd name="T38" fmla="*/ 2147483647 w 637"/>
                    <a:gd name="T39" fmla="*/ 2147483647 h 500"/>
                    <a:gd name="T40" fmla="*/ 2147483647 w 637"/>
                    <a:gd name="T41" fmla="*/ 2147483647 h 500"/>
                    <a:gd name="T42" fmla="*/ 2147483647 w 637"/>
                    <a:gd name="T43" fmla="*/ 2147483647 h 500"/>
                    <a:gd name="T44" fmla="*/ 2147483647 w 637"/>
                    <a:gd name="T45" fmla="*/ 2147483647 h 500"/>
                    <a:gd name="T46" fmla="*/ 2147483647 w 637"/>
                    <a:gd name="T47" fmla="*/ 2147483647 h 500"/>
                    <a:gd name="T48" fmla="*/ 2147483647 w 637"/>
                    <a:gd name="T49" fmla="*/ 2147483647 h 500"/>
                    <a:gd name="T50" fmla="*/ 0 w 637"/>
                    <a:gd name="T51" fmla="*/ 2147483647 h 500"/>
                    <a:gd name="T52" fmla="*/ 0 w 637"/>
                    <a:gd name="T53" fmla="*/ 2147483647 h 500"/>
                    <a:gd name="T54" fmla="*/ 2147483647 w 637"/>
                    <a:gd name="T55" fmla="*/ 2147483647 h 500"/>
                    <a:gd name="T56" fmla="*/ 2147483647 w 637"/>
                    <a:gd name="T57" fmla="*/ 2147483647 h 500"/>
                    <a:gd name="T58" fmla="*/ 2147483647 w 637"/>
                    <a:gd name="T59" fmla="*/ 2147483647 h 500"/>
                    <a:gd name="T60" fmla="*/ 2147483647 w 637"/>
                    <a:gd name="T61" fmla="*/ 2147483647 h 500"/>
                    <a:gd name="T62" fmla="*/ 2147483647 w 637"/>
                    <a:gd name="T63" fmla="*/ 2147483647 h 500"/>
                    <a:gd name="T64" fmla="*/ 2147483647 w 637"/>
                    <a:gd name="T65" fmla="*/ 2147483647 h 500"/>
                    <a:gd name="T66" fmla="*/ 2147483647 w 637"/>
                    <a:gd name="T67" fmla="*/ 2147483647 h 500"/>
                    <a:gd name="T68" fmla="*/ 2147483647 w 637"/>
                    <a:gd name="T69" fmla="*/ 2147483647 h 500"/>
                    <a:gd name="T70" fmla="*/ 2147483647 w 637"/>
                    <a:gd name="T71" fmla="*/ 2147483647 h 500"/>
                    <a:gd name="T72" fmla="*/ 2147483647 w 637"/>
                    <a:gd name="T73" fmla="*/ 2147483647 h 500"/>
                    <a:gd name="T74" fmla="*/ 2147483647 w 637"/>
                    <a:gd name="T75" fmla="*/ 2147483647 h 500"/>
                    <a:gd name="T76" fmla="*/ 2147483647 w 637"/>
                    <a:gd name="T77" fmla="*/ 2147483647 h 500"/>
                    <a:gd name="T78" fmla="*/ 2147483647 w 637"/>
                    <a:gd name="T79" fmla="*/ 2147483647 h 500"/>
                    <a:gd name="T80" fmla="*/ 2147483647 w 637"/>
                    <a:gd name="T81" fmla="*/ 2147483647 h 500"/>
                    <a:gd name="T82" fmla="*/ 2147483647 w 637"/>
                    <a:gd name="T83" fmla="*/ 2147483647 h 500"/>
                    <a:gd name="T84" fmla="*/ 2147483647 w 637"/>
                    <a:gd name="T85" fmla="*/ 2147483647 h 500"/>
                    <a:gd name="T86" fmla="*/ 2147483647 w 637"/>
                    <a:gd name="T87" fmla="*/ 2147483647 h 500"/>
                    <a:gd name="T88" fmla="*/ 2147483647 w 637"/>
                    <a:gd name="T89" fmla="*/ 2147483647 h 500"/>
                    <a:gd name="T90" fmla="*/ 2147483647 w 637"/>
                    <a:gd name="T91" fmla="*/ 2147483647 h 500"/>
                    <a:gd name="T92" fmla="*/ 2147483647 w 637"/>
                    <a:gd name="T93" fmla="*/ 2147483647 h 500"/>
                    <a:gd name="T94" fmla="*/ 2147483647 w 637"/>
                    <a:gd name="T95" fmla="*/ 2147483647 h 500"/>
                    <a:gd name="T96" fmla="*/ 2147483647 w 637"/>
                    <a:gd name="T97" fmla="*/ 2147483647 h 500"/>
                    <a:gd name="T98" fmla="*/ 2147483647 w 637"/>
                    <a:gd name="T99" fmla="*/ 2147483647 h 500"/>
                    <a:gd name="T100" fmla="*/ 2147483647 w 637"/>
                    <a:gd name="T101" fmla="*/ 2147483647 h 500"/>
                    <a:gd name="T102" fmla="*/ 2147483647 w 637"/>
                    <a:gd name="T103" fmla="*/ 2147483647 h 5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37"/>
                    <a:gd name="T157" fmla="*/ 0 h 500"/>
                    <a:gd name="T158" fmla="*/ 637 w 637"/>
                    <a:gd name="T159" fmla="*/ 500 h 5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37" h="500">
                      <a:moveTo>
                        <a:pt x="616" y="188"/>
                      </a:moveTo>
                      <a:lnTo>
                        <a:pt x="603" y="174"/>
                      </a:lnTo>
                      <a:lnTo>
                        <a:pt x="616" y="134"/>
                      </a:lnTo>
                      <a:lnTo>
                        <a:pt x="636" y="114"/>
                      </a:lnTo>
                      <a:lnTo>
                        <a:pt x="636" y="94"/>
                      </a:lnTo>
                      <a:lnTo>
                        <a:pt x="584" y="74"/>
                      </a:lnTo>
                      <a:lnTo>
                        <a:pt x="565" y="74"/>
                      </a:lnTo>
                      <a:lnTo>
                        <a:pt x="526" y="40"/>
                      </a:lnTo>
                      <a:lnTo>
                        <a:pt x="494" y="40"/>
                      </a:lnTo>
                      <a:lnTo>
                        <a:pt x="455" y="20"/>
                      </a:lnTo>
                      <a:lnTo>
                        <a:pt x="417" y="20"/>
                      </a:lnTo>
                      <a:lnTo>
                        <a:pt x="385" y="0"/>
                      </a:lnTo>
                      <a:lnTo>
                        <a:pt x="328" y="0"/>
                      </a:lnTo>
                      <a:lnTo>
                        <a:pt x="308" y="20"/>
                      </a:lnTo>
                      <a:lnTo>
                        <a:pt x="276" y="40"/>
                      </a:lnTo>
                      <a:lnTo>
                        <a:pt x="237" y="20"/>
                      </a:lnTo>
                      <a:lnTo>
                        <a:pt x="218" y="60"/>
                      </a:lnTo>
                      <a:lnTo>
                        <a:pt x="199" y="74"/>
                      </a:lnTo>
                      <a:lnTo>
                        <a:pt x="199" y="114"/>
                      </a:lnTo>
                      <a:lnTo>
                        <a:pt x="180" y="134"/>
                      </a:lnTo>
                      <a:lnTo>
                        <a:pt x="199" y="174"/>
                      </a:lnTo>
                      <a:lnTo>
                        <a:pt x="199" y="188"/>
                      </a:lnTo>
                      <a:lnTo>
                        <a:pt x="167" y="228"/>
                      </a:lnTo>
                      <a:lnTo>
                        <a:pt x="90" y="228"/>
                      </a:lnTo>
                      <a:lnTo>
                        <a:pt x="38" y="249"/>
                      </a:lnTo>
                      <a:lnTo>
                        <a:pt x="0" y="289"/>
                      </a:lnTo>
                      <a:lnTo>
                        <a:pt x="0" y="323"/>
                      </a:lnTo>
                      <a:lnTo>
                        <a:pt x="57" y="323"/>
                      </a:lnTo>
                      <a:lnTo>
                        <a:pt x="90" y="343"/>
                      </a:lnTo>
                      <a:lnTo>
                        <a:pt x="147" y="323"/>
                      </a:lnTo>
                      <a:lnTo>
                        <a:pt x="180" y="343"/>
                      </a:lnTo>
                      <a:lnTo>
                        <a:pt x="199" y="363"/>
                      </a:lnTo>
                      <a:lnTo>
                        <a:pt x="199" y="404"/>
                      </a:lnTo>
                      <a:lnTo>
                        <a:pt x="218" y="417"/>
                      </a:lnTo>
                      <a:lnTo>
                        <a:pt x="218" y="438"/>
                      </a:lnTo>
                      <a:lnTo>
                        <a:pt x="237" y="478"/>
                      </a:lnTo>
                      <a:lnTo>
                        <a:pt x="276" y="499"/>
                      </a:lnTo>
                      <a:lnTo>
                        <a:pt x="308" y="499"/>
                      </a:lnTo>
                      <a:lnTo>
                        <a:pt x="347" y="478"/>
                      </a:lnTo>
                      <a:lnTo>
                        <a:pt x="385" y="458"/>
                      </a:lnTo>
                      <a:lnTo>
                        <a:pt x="417" y="458"/>
                      </a:lnTo>
                      <a:lnTo>
                        <a:pt x="455" y="438"/>
                      </a:lnTo>
                      <a:lnTo>
                        <a:pt x="475" y="404"/>
                      </a:lnTo>
                      <a:lnTo>
                        <a:pt x="494" y="384"/>
                      </a:lnTo>
                      <a:lnTo>
                        <a:pt x="507" y="343"/>
                      </a:lnTo>
                      <a:lnTo>
                        <a:pt x="545" y="303"/>
                      </a:lnTo>
                      <a:lnTo>
                        <a:pt x="545" y="289"/>
                      </a:lnTo>
                      <a:lnTo>
                        <a:pt x="565" y="249"/>
                      </a:lnTo>
                      <a:lnTo>
                        <a:pt x="565" y="228"/>
                      </a:lnTo>
                      <a:lnTo>
                        <a:pt x="584" y="208"/>
                      </a:lnTo>
                      <a:lnTo>
                        <a:pt x="616" y="208"/>
                      </a:lnTo>
                      <a:lnTo>
                        <a:pt x="616" y="188"/>
                      </a:lnTo>
                    </a:path>
                  </a:pathLst>
                </a:custGeom>
                <a:solidFill>
                  <a:schemeClr val="tx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1" name="Freeform 11"/>
                <p:cNvSpPr>
                  <a:spLocks/>
                </p:cNvSpPr>
                <p:nvPr/>
              </p:nvSpPr>
              <p:spPr bwMode="blackWhite">
                <a:xfrm>
                  <a:off x="2780552" y="2651433"/>
                  <a:ext cx="827309" cy="949833"/>
                </a:xfrm>
                <a:custGeom>
                  <a:avLst/>
                  <a:gdLst>
                    <a:gd name="T0" fmla="*/ 2147483647 w 547"/>
                    <a:gd name="T1" fmla="*/ 2147483647 h 613"/>
                    <a:gd name="T2" fmla="*/ 2147483647 w 547"/>
                    <a:gd name="T3" fmla="*/ 2147483647 h 613"/>
                    <a:gd name="T4" fmla="*/ 2147483647 w 547"/>
                    <a:gd name="T5" fmla="*/ 2147483647 h 613"/>
                    <a:gd name="T6" fmla="*/ 2147483647 w 547"/>
                    <a:gd name="T7" fmla="*/ 2147483647 h 613"/>
                    <a:gd name="T8" fmla="*/ 2147483647 w 547"/>
                    <a:gd name="T9" fmla="*/ 2147483647 h 613"/>
                    <a:gd name="T10" fmla="*/ 2147483647 w 547"/>
                    <a:gd name="T11" fmla="*/ 2147483647 h 613"/>
                    <a:gd name="T12" fmla="*/ 2147483647 w 547"/>
                    <a:gd name="T13" fmla="*/ 2147483647 h 613"/>
                    <a:gd name="T14" fmla="*/ 2147483647 w 547"/>
                    <a:gd name="T15" fmla="*/ 2147483647 h 613"/>
                    <a:gd name="T16" fmla="*/ 2147483647 w 547"/>
                    <a:gd name="T17" fmla="*/ 2147483647 h 613"/>
                    <a:gd name="T18" fmla="*/ 2147483647 w 547"/>
                    <a:gd name="T19" fmla="*/ 2147483647 h 613"/>
                    <a:gd name="T20" fmla="*/ 2147483647 w 547"/>
                    <a:gd name="T21" fmla="*/ 2147483647 h 613"/>
                    <a:gd name="T22" fmla="*/ 2147483647 w 547"/>
                    <a:gd name="T23" fmla="*/ 2147483647 h 613"/>
                    <a:gd name="T24" fmla="*/ 2147483647 w 547"/>
                    <a:gd name="T25" fmla="*/ 2147483647 h 613"/>
                    <a:gd name="T26" fmla="*/ 2147483647 w 547"/>
                    <a:gd name="T27" fmla="*/ 2147483647 h 613"/>
                    <a:gd name="T28" fmla="*/ 2147483647 w 547"/>
                    <a:gd name="T29" fmla="*/ 2147483647 h 613"/>
                    <a:gd name="T30" fmla="*/ 2147483647 w 547"/>
                    <a:gd name="T31" fmla="*/ 2147483647 h 613"/>
                    <a:gd name="T32" fmla="*/ 2147483647 w 547"/>
                    <a:gd name="T33" fmla="*/ 2147483647 h 613"/>
                    <a:gd name="T34" fmla="*/ 2147483647 w 547"/>
                    <a:gd name="T35" fmla="*/ 2147483647 h 613"/>
                    <a:gd name="T36" fmla="*/ 2147483647 w 547"/>
                    <a:gd name="T37" fmla="*/ 2147483647 h 613"/>
                    <a:gd name="T38" fmla="*/ 2147483647 w 547"/>
                    <a:gd name="T39" fmla="*/ 2147483647 h 613"/>
                    <a:gd name="T40" fmla="*/ 2147483647 w 547"/>
                    <a:gd name="T41" fmla="*/ 2147483647 h 613"/>
                    <a:gd name="T42" fmla="*/ 2147483647 w 547"/>
                    <a:gd name="T43" fmla="*/ 2147483647 h 613"/>
                    <a:gd name="T44" fmla="*/ 2147483647 w 547"/>
                    <a:gd name="T45" fmla="*/ 2147483647 h 613"/>
                    <a:gd name="T46" fmla="*/ 2147483647 w 547"/>
                    <a:gd name="T47" fmla="*/ 2147483647 h 613"/>
                    <a:gd name="T48" fmla="*/ 2147483647 w 547"/>
                    <a:gd name="T49" fmla="*/ 2147483647 h 613"/>
                    <a:gd name="T50" fmla="*/ 2147483647 w 547"/>
                    <a:gd name="T51" fmla="*/ 2147483647 h 613"/>
                    <a:gd name="T52" fmla="*/ 2147483647 w 547"/>
                    <a:gd name="T53" fmla="*/ 2147483647 h 613"/>
                    <a:gd name="T54" fmla="*/ 2147483647 w 547"/>
                    <a:gd name="T55" fmla="*/ 2147483647 h 613"/>
                    <a:gd name="T56" fmla="*/ 2147483647 w 547"/>
                    <a:gd name="T57" fmla="*/ 2147483647 h 613"/>
                    <a:gd name="T58" fmla="*/ 2147483647 w 547"/>
                    <a:gd name="T59" fmla="*/ 2147483647 h 613"/>
                    <a:gd name="T60" fmla="*/ 2147483647 w 547"/>
                    <a:gd name="T61" fmla="*/ 2147483647 h 613"/>
                    <a:gd name="T62" fmla="*/ 2147483647 w 547"/>
                    <a:gd name="T63" fmla="*/ 2147483647 h 613"/>
                    <a:gd name="T64" fmla="*/ 2147483647 w 547"/>
                    <a:gd name="T65" fmla="*/ 2147483647 h 613"/>
                    <a:gd name="T66" fmla="*/ 2147483647 w 547"/>
                    <a:gd name="T67" fmla="*/ 2147483647 h 613"/>
                    <a:gd name="T68" fmla="*/ 2147483647 w 547"/>
                    <a:gd name="T69" fmla="*/ 2147483647 h 613"/>
                    <a:gd name="T70" fmla="*/ 2147483647 w 547"/>
                    <a:gd name="T71" fmla="*/ 2147483647 h 613"/>
                    <a:gd name="T72" fmla="*/ 2147483647 w 547"/>
                    <a:gd name="T73" fmla="*/ 2147483647 h 613"/>
                    <a:gd name="T74" fmla="*/ 2147483647 w 547"/>
                    <a:gd name="T75" fmla="*/ 0 h 613"/>
                    <a:gd name="T76" fmla="*/ 2147483647 w 547"/>
                    <a:gd name="T77" fmla="*/ 2147483647 h 613"/>
                    <a:gd name="T78" fmla="*/ 2147483647 w 547"/>
                    <a:gd name="T79" fmla="*/ 2147483647 h 613"/>
                    <a:gd name="T80" fmla="*/ 2147483647 w 547"/>
                    <a:gd name="T81" fmla="*/ 2147483647 h 613"/>
                    <a:gd name="T82" fmla="*/ 2147483647 w 547"/>
                    <a:gd name="T83" fmla="*/ 0 h 613"/>
                    <a:gd name="T84" fmla="*/ 2147483647 w 547"/>
                    <a:gd name="T85" fmla="*/ 2147483647 h 613"/>
                    <a:gd name="T86" fmla="*/ 2147483647 w 547"/>
                    <a:gd name="T87" fmla="*/ 2147483647 h 613"/>
                    <a:gd name="T88" fmla="*/ 2147483647 w 547"/>
                    <a:gd name="T89" fmla="*/ 2147483647 h 613"/>
                    <a:gd name="T90" fmla="*/ 2147483647 w 547"/>
                    <a:gd name="T91" fmla="*/ 2147483647 h 613"/>
                    <a:gd name="T92" fmla="*/ 2147483647 w 547"/>
                    <a:gd name="T93" fmla="*/ 2147483647 h 613"/>
                    <a:gd name="T94" fmla="*/ 2147483647 w 547"/>
                    <a:gd name="T95" fmla="*/ 2147483647 h 613"/>
                    <a:gd name="T96" fmla="*/ 2147483647 w 547"/>
                    <a:gd name="T97" fmla="*/ 2147483647 h 613"/>
                    <a:gd name="T98" fmla="*/ 2147483647 w 547"/>
                    <a:gd name="T99" fmla="*/ 2147483647 h 613"/>
                    <a:gd name="T100" fmla="*/ 2147483647 w 547"/>
                    <a:gd name="T101" fmla="*/ 2147483647 h 613"/>
                    <a:gd name="T102" fmla="*/ 2147483647 w 547"/>
                    <a:gd name="T103" fmla="*/ 2147483647 h 613"/>
                    <a:gd name="T104" fmla="*/ 2147483647 w 547"/>
                    <a:gd name="T105" fmla="*/ 2147483647 h 613"/>
                    <a:gd name="T106" fmla="*/ 2147483647 w 547"/>
                    <a:gd name="T107" fmla="*/ 2147483647 h 613"/>
                    <a:gd name="T108" fmla="*/ 0 w 547"/>
                    <a:gd name="T109" fmla="*/ 2147483647 h 613"/>
                    <a:gd name="T110" fmla="*/ 2147483647 w 547"/>
                    <a:gd name="T111" fmla="*/ 2147483647 h 613"/>
                    <a:gd name="T112" fmla="*/ 2147483647 w 547"/>
                    <a:gd name="T113" fmla="*/ 2147483647 h 613"/>
                    <a:gd name="T114" fmla="*/ 2147483647 w 547"/>
                    <a:gd name="T115" fmla="*/ 2147483647 h 613"/>
                    <a:gd name="T116" fmla="*/ 2147483647 w 547"/>
                    <a:gd name="T117" fmla="*/ 2147483647 h 61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547"/>
                    <a:gd name="T178" fmla="*/ 0 h 613"/>
                    <a:gd name="T179" fmla="*/ 547 w 547"/>
                    <a:gd name="T180" fmla="*/ 613 h 61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547" h="613">
                      <a:moveTo>
                        <a:pt x="38" y="424"/>
                      </a:moveTo>
                      <a:lnTo>
                        <a:pt x="70" y="403"/>
                      </a:lnTo>
                      <a:lnTo>
                        <a:pt x="90" y="383"/>
                      </a:lnTo>
                      <a:lnTo>
                        <a:pt x="147" y="383"/>
                      </a:lnTo>
                      <a:lnTo>
                        <a:pt x="179" y="403"/>
                      </a:lnTo>
                      <a:lnTo>
                        <a:pt x="217" y="403"/>
                      </a:lnTo>
                      <a:lnTo>
                        <a:pt x="256" y="424"/>
                      </a:lnTo>
                      <a:lnTo>
                        <a:pt x="288" y="424"/>
                      </a:lnTo>
                      <a:lnTo>
                        <a:pt x="327" y="457"/>
                      </a:lnTo>
                      <a:lnTo>
                        <a:pt x="346" y="457"/>
                      </a:lnTo>
                      <a:lnTo>
                        <a:pt x="398" y="477"/>
                      </a:lnTo>
                      <a:lnTo>
                        <a:pt x="398" y="498"/>
                      </a:lnTo>
                      <a:lnTo>
                        <a:pt x="378" y="517"/>
                      </a:lnTo>
                      <a:lnTo>
                        <a:pt x="365" y="558"/>
                      </a:lnTo>
                      <a:lnTo>
                        <a:pt x="378" y="571"/>
                      </a:lnTo>
                      <a:lnTo>
                        <a:pt x="378" y="591"/>
                      </a:lnTo>
                      <a:lnTo>
                        <a:pt x="398" y="612"/>
                      </a:lnTo>
                      <a:lnTo>
                        <a:pt x="417" y="591"/>
                      </a:lnTo>
                      <a:lnTo>
                        <a:pt x="436" y="558"/>
                      </a:lnTo>
                      <a:lnTo>
                        <a:pt x="436" y="498"/>
                      </a:lnTo>
                      <a:lnTo>
                        <a:pt x="455" y="457"/>
                      </a:lnTo>
                      <a:lnTo>
                        <a:pt x="455" y="322"/>
                      </a:lnTo>
                      <a:lnTo>
                        <a:pt x="475" y="289"/>
                      </a:lnTo>
                      <a:lnTo>
                        <a:pt x="475" y="309"/>
                      </a:lnTo>
                      <a:lnTo>
                        <a:pt x="488" y="309"/>
                      </a:lnTo>
                      <a:lnTo>
                        <a:pt x="526" y="228"/>
                      </a:lnTo>
                      <a:lnTo>
                        <a:pt x="546" y="208"/>
                      </a:lnTo>
                      <a:lnTo>
                        <a:pt x="488" y="194"/>
                      </a:lnTo>
                      <a:lnTo>
                        <a:pt x="488" y="174"/>
                      </a:lnTo>
                      <a:lnTo>
                        <a:pt x="475" y="154"/>
                      </a:lnTo>
                      <a:lnTo>
                        <a:pt x="475" y="134"/>
                      </a:lnTo>
                      <a:lnTo>
                        <a:pt x="488" y="134"/>
                      </a:lnTo>
                      <a:lnTo>
                        <a:pt x="507" y="113"/>
                      </a:lnTo>
                      <a:lnTo>
                        <a:pt x="507" y="80"/>
                      </a:lnTo>
                      <a:lnTo>
                        <a:pt x="488" y="40"/>
                      </a:lnTo>
                      <a:lnTo>
                        <a:pt x="475" y="40"/>
                      </a:lnTo>
                      <a:lnTo>
                        <a:pt x="475" y="20"/>
                      </a:lnTo>
                      <a:lnTo>
                        <a:pt x="398" y="0"/>
                      </a:lnTo>
                      <a:lnTo>
                        <a:pt x="365" y="40"/>
                      </a:lnTo>
                      <a:lnTo>
                        <a:pt x="327" y="40"/>
                      </a:lnTo>
                      <a:lnTo>
                        <a:pt x="327" y="20"/>
                      </a:lnTo>
                      <a:lnTo>
                        <a:pt x="307" y="0"/>
                      </a:lnTo>
                      <a:lnTo>
                        <a:pt x="269" y="40"/>
                      </a:lnTo>
                      <a:lnTo>
                        <a:pt x="198" y="60"/>
                      </a:lnTo>
                      <a:lnTo>
                        <a:pt x="160" y="40"/>
                      </a:lnTo>
                      <a:lnTo>
                        <a:pt x="147" y="60"/>
                      </a:lnTo>
                      <a:lnTo>
                        <a:pt x="147" y="80"/>
                      </a:lnTo>
                      <a:lnTo>
                        <a:pt x="160" y="93"/>
                      </a:lnTo>
                      <a:lnTo>
                        <a:pt x="160" y="113"/>
                      </a:lnTo>
                      <a:lnTo>
                        <a:pt x="128" y="154"/>
                      </a:lnTo>
                      <a:lnTo>
                        <a:pt x="90" y="154"/>
                      </a:lnTo>
                      <a:lnTo>
                        <a:pt x="51" y="134"/>
                      </a:lnTo>
                      <a:lnTo>
                        <a:pt x="38" y="134"/>
                      </a:lnTo>
                      <a:lnTo>
                        <a:pt x="19" y="154"/>
                      </a:lnTo>
                      <a:lnTo>
                        <a:pt x="0" y="194"/>
                      </a:lnTo>
                      <a:lnTo>
                        <a:pt x="19" y="248"/>
                      </a:lnTo>
                      <a:lnTo>
                        <a:pt x="19" y="322"/>
                      </a:lnTo>
                      <a:lnTo>
                        <a:pt x="38" y="363"/>
                      </a:lnTo>
                      <a:lnTo>
                        <a:pt x="38" y="42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2" name="Freeform 12"/>
                <p:cNvSpPr>
                  <a:spLocks/>
                </p:cNvSpPr>
                <p:nvPr/>
              </p:nvSpPr>
              <p:spPr bwMode="blackWhite">
                <a:xfrm>
                  <a:off x="3485338" y="2778294"/>
                  <a:ext cx="168064" cy="197340"/>
                </a:xfrm>
                <a:custGeom>
                  <a:avLst/>
                  <a:gdLst>
                    <a:gd name="T0" fmla="*/ 2147483647 w 111"/>
                    <a:gd name="T1" fmla="*/ 2147483647 h 129"/>
                    <a:gd name="T2" fmla="*/ 2147483647 w 111"/>
                    <a:gd name="T3" fmla="*/ 2147483647 h 129"/>
                    <a:gd name="T4" fmla="*/ 2147483647 w 111"/>
                    <a:gd name="T5" fmla="*/ 2147483647 h 129"/>
                    <a:gd name="T6" fmla="*/ 2147483647 w 111"/>
                    <a:gd name="T7" fmla="*/ 0 h 129"/>
                    <a:gd name="T8" fmla="*/ 2147483647 w 111"/>
                    <a:gd name="T9" fmla="*/ 0 h 129"/>
                    <a:gd name="T10" fmla="*/ 2147483647 w 111"/>
                    <a:gd name="T11" fmla="*/ 2147483647 h 129"/>
                    <a:gd name="T12" fmla="*/ 2147483647 w 111"/>
                    <a:gd name="T13" fmla="*/ 2147483647 h 129"/>
                    <a:gd name="T14" fmla="*/ 0 w 111"/>
                    <a:gd name="T15" fmla="*/ 2147483647 h 129"/>
                    <a:gd name="T16" fmla="*/ 0 w 111"/>
                    <a:gd name="T17" fmla="*/ 2147483647 h 129"/>
                    <a:gd name="T18" fmla="*/ 2147483647 w 111"/>
                    <a:gd name="T19" fmla="*/ 2147483647 h 129"/>
                    <a:gd name="T20" fmla="*/ 2147483647 w 111"/>
                    <a:gd name="T21" fmla="*/ 2147483647 h 129"/>
                    <a:gd name="T22" fmla="*/ 2147483647 w 111"/>
                    <a:gd name="T23" fmla="*/ 2147483647 h 12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11"/>
                    <a:gd name="T37" fmla="*/ 0 h 129"/>
                    <a:gd name="T38" fmla="*/ 111 w 111"/>
                    <a:gd name="T39" fmla="*/ 129 h 12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11" h="129">
                      <a:moveTo>
                        <a:pt x="71" y="128"/>
                      </a:moveTo>
                      <a:lnTo>
                        <a:pt x="110" y="53"/>
                      </a:lnTo>
                      <a:lnTo>
                        <a:pt x="90" y="33"/>
                      </a:lnTo>
                      <a:lnTo>
                        <a:pt x="51" y="0"/>
                      </a:lnTo>
                      <a:lnTo>
                        <a:pt x="32" y="0"/>
                      </a:lnTo>
                      <a:lnTo>
                        <a:pt x="32" y="33"/>
                      </a:lnTo>
                      <a:lnTo>
                        <a:pt x="12" y="53"/>
                      </a:lnTo>
                      <a:lnTo>
                        <a:pt x="0" y="53"/>
                      </a:lnTo>
                      <a:lnTo>
                        <a:pt x="0" y="74"/>
                      </a:lnTo>
                      <a:lnTo>
                        <a:pt x="12" y="94"/>
                      </a:lnTo>
                      <a:lnTo>
                        <a:pt x="12" y="114"/>
                      </a:lnTo>
                      <a:lnTo>
                        <a:pt x="71" y="128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3" name="Freeform 13"/>
                <p:cNvSpPr>
                  <a:spLocks/>
                </p:cNvSpPr>
                <p:nvPr/>
              </p:nvSpPr>
              <p:spPr bwMode="blackWhite">
                <a:xfrm>
                  <a:off x="3503770" y="2683961"/>
                  <a:ext cx="285167" cy="177823"/>
                </a:xfrm>
                <a:custGeom>
                  <a:avLst/>
                  <a:gdLst>
                    <a:gd name="T0" fmla="*/ 2147483647 w 188"/>
                    <a:gd name="T1" fmla="*/ 2147483647 h 115"/>
                    <a:gd name="T2" fmla="*/ 2147483647 w 188"/>
                    <a:gd name="T3" fmla="*/ 2147483647 h 115"/>
                    <a:gd name="T4" fmla="*/ 2147483647 w 188"/>
                    <a:gd name="T5" fmla="*/ 2147483647 h 115"/>
                    <a:gd name="T6" fmla="*/ 2147483647 w 188"/>
                    <a:gd name="T7" fmla="*/ 0 h 115"/>
                    <a:gd name="T8" fmla="*/ 2147483647 w 188"/>
                    <a:gd name="T9" fmla="*/ 0 h 115"/>
                    <a:gd name="T10" fmla="*/ 2147483647 w 188"/>
                    <a:gd name="T11" fmla="*/ 2147483647 h 115"/>
                    <a:gd name="T12" fmla="*/ 2147483647 w 188"/>
                    <a:gd name="T13" fmla="*/ 2147483647 h 115"/>
                    <a:gd name="T14" fmla="*/ 2147483647 w 188"/>
                    <a:gd name="T15" fmla="*/ 0 h 115"/>
                    <a:gd name="T16" fmla="*/ 2147483647 w 188"/>
                    <a:gd name="T17" fmla="*/ 0 h 115"/>
                    <a:gd name="T18" fmla="*/ 0 w 188"/>
                    <a:gd name="T19" fmla="*/ 2147483647 h 115"/>
                    <a:gd name="T20" fmla="*/ 2147483647 w 188"/>
                    <a:gd name="T21" fmla="*/ 2147483647 h 115"/>
                    <a:gd name="T22" fmla="*/ 2147483647 w 188"/>
                    <a:gd name="T23" fmla="*/ 2147483647 h 115"/>
                    <a:gd name="T24" fmla="*/ 2147483647 w 188"/>
                    <a:gd name="T25" fmla="*/ 2147483647 h 115"/>
                    <a:gd name="T26" fmla="*/ 2147483647 w 188"/>
                    <a:gd name="T27" fmla="*/ 2147483647 h 11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88"/>
                    <a:gd name="T43" fmla="*/ 0 h 115"/>
                    <a:gd name="T44" fmla="*/ 188 w 188"/>
                    <a:gd name="T45" fmla="*/ 115 h 11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88" h="115">
                      <a:moveTo>
                        <a:pt x="96" y="114"/>
                      </a:moveTo>
                      <a:lnTo>
                        <a:pt x="128" y="93"/>
                      </a:lnTo>
                      <a:lnTo>
                        <a:pt x="148" y="59"/>
                      </a:lnTo>
                      <a:lnTo>
                        <a:pt x="187" y="0"/>
                      </a:lnTo>
                      <a:lnTo>
                        <a:pt x="128" y="0"/>
                      </a:lnTo>
                      <a:lnTo>
                        <a:pt x="109" y="20"/>
                      </a:lnTo>
                      <a:lnTo>
                        <a:pt x="96" y="20"/>
                      </a:lnTo>
                      <a:lnTo>
                        <a:pt x="58" y="0"/>
                      </a:lnTo>
                      <a:lnTo>
                        <a:pt x="19" y="0"/>
                      </a:lnTo>
                      <a:lnTo>
                        <a:pt x="0" y="20"/>
                      </a:lnTo>
                      <a:lnTo>
                        <a:pt x="19" y="59"/>
                      </a:lnTo>
                      <a:lnTo>
                        <a:pt x="38" y="59"/>
                      </a:lnTo>
                      <a:lnTo>
                        <a:pt x="77" y="93"/>
                      </a:lnTo>
                      <a:lnTo>
                        <a:pt x="96" y="11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4" name="Freeform 14"/>
                <p:cNvSpPr>
                  <a:spLocks/>
                </p:cNvSpPr>
                <p:nvPr/>
              </p:nvSpPr>
              <p:spPr bwMode="blackWhite">
                <a:xfrm>
                  <a:off x="3241373" y="2506139"/>
                  <a:ext cx="583345" cy="209267"/>
                </a:xfrm>
                <a:custGeom>
                  <a:avLst/>
                  <a:gdLst>
                    <a:gd name="T0" fmla="*/ 2147483647 w 387"/>
                    <a:gd name="T1" fmla="*/ 0 h 136"/>
                    <a:gd name="T2" fmla="*/ 2147483647 w 387"/>
                    <a:gd name="T3" fmla="*/ 0 h 136"/>
                    <a:gd name="T4" fmla="*/ 2147483647 w 387"/>
                    <a:gd name="T5" fmla="*/ 2147483647 h 136"/>
                    <a:gd name="T6" fmla="*/ 2147483647 w 387"/>
                    <a:gd name="T7" fmla="*/ 2147483647 h 136"/>
                    <a:gd name="T8" fmla="*/ 2147483647 w 387"/>
                    <a:gd name="T9" fmla="*/ 2147483647 h 136"/>
                    <a:gd name="T10" fmla="*/ 2147483647 w 387"/>
                    <a:gd name="T11" fmla="*/ 2147483647 h 136"/>
                    <a:gd name="T12" fmla="*/ 2147483647 w 387"/>
                    <a:gd name="T13" fmla="*/ 2147483647 h 136"/>
                    <a:gd name="T14" fmla="*/ 2147483647 w 387"/>
                    <a:gd name="T15" fmla="*/ 2147483647 h 136"/>
                    <a:gd name="T16" fmla="*/ 2147483647 w 387"/>
                    <a:gd name="T17" fmla="*/ 2147483647 h 136"/>
                    <a:gd name="T18" fmla="*/ 2147483647 w 387"/>
                    <a:gd name="T19" fmla="*/ 2147483647 h 136"/>
                    <a:gd name="T20" fmla="*/ 2147483647 w 387"/>
                    <a:gd name="T21" fmla="*/ 2147483647 h 136"/>
                    <a:gd name="T22" fmla="*/ 2147483647 w 387"/>
                    <a:gd name="T23" fmla="*/ 2147483647 h 136"/>
                    <a:gd name="T24" fmla="*/ 2147483647 w 387"/>
                    <a:gd name="T25" fmla="*/ 2147483647 h 136"/>
                    <a:gd name="T26" fmla="*/ 2147483647 w 387"/>
                    <a:gd name="T27" fmla="*/ 2147483647 h 136"/>
                    <a:gd name="T28" fmla="*/ 2147483647 w 387"/>
                    <a:gd name="T29" fmla="*/ 2147483647 h 136"/>
                    <a:gd name="T30" fmla="*/ 2147483647 w 387"/>
                    <a:gd name="T31" fmla="*/ 2147483647 h 136"/>
                    <a:gd name="T32" fmla="*/ 2147483647 w 387"/>
                    <a:gd name="T33" fmla="*/ 2147483647 h 136"/>
                    <a:gd name="T34" fmla="*/ 0 w 387"/>
                    <a:gd name="T35" fmla="*/ 2147483647 h 136"/>
                    <a:gd name="T36" fmla="*/ 2147483647 w 387"/>
                    <a:gd name="T37" fmla="*/ 2147483647 h 136"/>
                    <a:gd name="T38" fmla="*/ 2147483647 w 387"/>
                    <a:gd name="T39" fmla="*/ 2147483647 h 136"/>
                    <a:gd name="T40" fmla="*/ 2147483647 w 387"/>
                    <a:gd name="T41" fmla="*/ 2147483647 h 136"/>
                    <a:gd name="T42" fmla="*/ 2147483647 w 387"/>
                    <a:gd name="T43" fmla="*/ 2147483647 h 136"/>
                    <a:gd name="T44" fmla="*/ 2147483647 w 387"/>
                    <a:gd name="T45" fmla="*/ 2147483647 h 136"/>
                    <a:gd name="T46" fmla="*/ 2147483647 w 387"/>
                    <a:gd name="T47" fmla="*/ 2147483647 h 136"/>
                    <a:gd name="T48" fmla="*/ 2147483647 w 387"/>
                    <a:gd name="T49" fmla="*/ 2147483647 h 136"/>
                    <a:gd name="T50" fmla="*/ 2147483647 w 387"/>
                    <a:gd name="T51" fmla="*/ 2147483647 h 136"/>
                    <a:gd name="T52" fmla="*/ 2147483647 w 387"/>
                    <a:gd name="T53" fmla="*/ 2147483647 h 136"/>
                    <a:gd name="T54" fmla="*/ 2147483647 w 387"/>
                    <a:gd name="T55" fmla="*/ 2147483647 h 136"/>
                    <a:gd name="T56" fmla="*/ 2147483647 w 387"/>
                    <a:gd name="T57" fmla="*/ 2147483647 h 136"/>
                    <a:gd name="T58" fmla="*/ 2147483647 w 387"/>
                    <a:gd name="T59" fmla="*/ 2147483647 h 136"/>
                    <a:gd name="T60" fmla="*/ 2147483647 w 387"/>
                    <a:gd name="T61" fmla="*/ 2147483647 h 136"/>
                    <a:gd name="T62" fmla="*/ 2147483647 w 387"/>
                    <a:gd name="T63" fmla="*/ 2147483647 h 136"/>
                    <a:gd name="T64" fmla="*/ 2147483647 w 387"/>
                    <a:gd name="T65" fmla="*/ 0 h 1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87"/>
                    <a:gd name="T100" fmla="*/ 0 h 136"/>
                    <a:gd name="T101" fmla="*/ 387 w 387"/>
                    <a:gd name="T102" fmla="*/ 136 h 1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87" h="136">
                      <a:moveTo>
                        <a:pt x="386" y="0"/>
                      </a:moveTo>
                      <a:lnTo>
                        <a:pt x="366" y="0"/>
                      </a:lnTo>
                      <a:lnTo>
                        <a:pt x="328" y="40"/>
                      </a:lnTo>
                      <a:lnTo>
                        <a:pt x="289" y="40"/>
                      </a:lnTo>
                      <a:lnTo>
                        <a:pt x="276" y="40"/>
                      </a:lnTo>
                      <a:lnTo>
                        <a:pt x="257" y="60"/>
                      </a:lnTo>
                      <a:lnTo>
                        <a:pt x="218" y="60"/>
                      </a:lnTo>
                      <a:lnTo>
                        <a:pt x="238" y="20"/>
                      </a:lnTo>
                      <a:lnTo>
                        <a:pt x="218" y="20"/>
                      </a:lnTo>
                      <a:lnTo>
                        <a:pt x="180" y="40"/>
                      </a:lnTo>
                      <a:lnTo>
                        <a:pt x="167" y="60"/>
                      </a:lnTo>
                      <a:lnTo>
                        <a:pt x="109" y="40"/>
                      </a:lnTo>
                      <a:lnTo>
                        <a:pt x="90" y="40"/>
                      </a:lnTo>
                      <a:lnTo>
                        <a:pt x="70" y="20"/>
                      </a:lnTo>
                      <a:lnTo>
                        <a:pt x="38" y="20"/>
                      </a:lnTo>
                      <a:lnTo>
                        <a:pt x="19" y="40"/>
                      </a:lnTo>
                      <a:lnTo>
                        <a:pt x="19" y="74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35"/>
                      </a:lnTo>
                      <a:lnTo>
                        <a:pt x="57" y="135"/>
                      </a:lnTo>
                      <a:lnTo>
                        <a:pt x="90" y="94"/>
                      </a:lnTo>
                      <a:lnTo>
                        <a:pt x="167" y="114"/>
                      </a:lnTo>
                      <a:lnTo>
                        <a:pt x="167" y="135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8" y="114"/>
                      </a:lnTo>
                      <a:lnTo>
                        <a:pt x="276" y="135"/>
                      </a:lnTo>
                      <a:lnTo>
                        <a:pt x="289" y="135"/>
                      </a:lnTo>
                      <a:lnTo>
                        <a:pt x="308" y="114"/>
                      </a:lnTo>
                      <a:lnTo>
                        <a:pt x="366" y="114"/>
                      </a:lnTo>
                      <a:lnTo>
                        <a:pt x="386" y="60"/>
                      </a:lnTo>
                      <a:lnTo>
                        <a:pt x="386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5" name="Freeform 15"/>
                <p:cNvSpPr>
                  <a:spLocks/>
                </p:cNvSpPr>
                <p:nvPr/>
              </p:nvSpPr>
              <p:spPr bwMode="blackWhite">
                <a:xfrm>
                  <a:off x="3400762" y="2392289"/>
                  <a:ext cx="417450" cy="209267"/>
                </a:xfrm>
                <a:custGeom>
                  <a:avLst/>
                  <a:gdLst>
                    <a:gd name="T0" fmla="*/ 2147483647 w 277"/>
                    <a:gd name="T1" fmla="*/ 2147483647 h 136"/>
                    <a:gd name="T2" fmla="*/ 2147483647 w 277"/>
                    <a:gd name="T3" fmla="*/ 2147483647 h 136"/>
                    <a:gd name="T4" fmla="*/ 2147483647 w 277"/>
                    <a:gd name="T5" fmla="*/ 2147483647 h 136"/>
                    <a:gd name="T6" fmla="*/ 2147483647 w 277"/>
                    <a:gd name="T7" fmla="*/ 2147483647 h 136"/>
                    <a:gd name="T8" fmla="*/ 2147483647 w 277"/>
                    <a:gd name="T9" fmla="*/ 2147483647 h 136"/>
                    <a:gd name="T10" fmla="*/ 2147483647 w 277"/>
                    <a:gd name="T11" fmla="*/ 2147483647 h 136"/>
                    <a:gd name="T12" fmla="*/ 2147483647 w 277"/>
                    <a:gd name="T13" fmla="*/ 2147483647 h 136"/>
                    <a:gd name="T14" fmla="*/ 2147483647 w 277"/>
                    <a:gd name="T15" fmla="*/ 2147483647 h 136"/>
                    <a:gd name="T16" fmla="*/ 2147483647 w 277"/>
                    <a:gd name="T17" fmla="*/ 2147483647 h 136"/>
                    <a:gd name="T18" fmla="*/ 2147483647 w 277"/>
                    <a:gd name="T19" fmla="*/ 0 h 136"/>
                    <a:gd name="T20" fmla="*/ 2147483647 w 277"/>
                    <a:gd name="T21" fmla="*/ 2147483647 h 136"/>
                    <a:gd name="T22" fmla="*/ 2147483647 w 277"/>
                    <a:gd name="T23" fmla="*/ 2147483647 h 136"/>
                    <a:gd name="T24" fmla="*/ 2147483647 w 277"/>
                    <a:gd name="T25" fmla="*/ 2147483647 h 136"/>
                    <a:gd name="T26" fmla="*/ 2147483647 w 277"/>
                    <a:gd name="T27" fmla="*/ 2147483647 h 136"/>
                    <a:gd name="T28" fmla="*/ 0 w 277"/>
                    <a:gd name="T29" fmla="*/ 2147483647 h 136"/>
                    <a:gd name="T30" fmla="*/ 2147483647 w 277"/>
                    <a:gd name="T31" fmla="*/ 2147483647 h 136"/>
                    <a:gd name="T32" fmla="*/ 2147483647 w 277"/>
                    <a:gd name="T33" fmla="*/ 2147483647 h 136"/>
                    <a:gd name="T34" fmla="*/ 2147483647 w 277"/>
                    <a:gd name="T35" fmla="*/ 2147483647 h 136"/>
                    <a:gd name="T36" fmla="*/ 2147483647 w 277"/>
                    <a:gd name="T37" fmla="*/ 2147483647 h 136"/>
                    <a:gd name="T38" fmla="*/ 2147483647 w 277"/>
                    <a:gd name="T39" fmla="*/ 2147483647 h 136"/>
                    <a:gd name="T40" fmla="*/ 2147483647 w 277"/>
                    <a:gd name="T41" fmla="*/ 2147483647 h 136"/>
                    <a:gd name="T42" fmla="*/ 2147483647 w 277"/>
                    <a:gd name="T43" fmla="*/ 2147483647 h 136"/>
                    <a:gd name="T44" fmla="*/ 2147483647 w 277"/>
                    <a:gd name="T45" fmla="*/ 2147483647 h 136"/>
                    <a:gd name="T46" fmla="*/ 2147483647 w 277"/>
                    <a:gd name="T47" fmla="*/ 2147483647 h 136"/>
                    <a:gd name="T48" fmla="*/ 2147483647 w 277"/>
                    <a:gd name="T49" fmla="*/ 2147483647 h 1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77"/>
                    <a:gd name="T76" fmla="*/ 0 h 136"/>
                    <a:gd name="T77" fmla="*/ 277 w 277"/>
                    <a:gd name="T78" fmla="*/ 136 h 1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77" h="136">
                      <a:moveTo>
                        <a:pt x="276" y="74"/>
                      </a:moveTo>
                      <a:lnTo>
                        <a:pt x="256" y="33"/>
                      </a:lnTo>
                      <a:lnTo>
                        <a:pt x="198" y="33"/>
                      </a:lnTo>
                      <a:lnTo>
                        <a:pt x="179" y="20"/>
                      </a:lnTo>
                      <a:lnTo>
                        <a:pt x="166" y="20"/>
                      </a:lnTo>
                      <a:lnTo>
                        <a:pt x="166" y="33"/>
                      </a:lnTo>
                      <a:lnTo>
                        <a:pt x="166" y="54"/>
                      </a:lnTo>
                      <a:lnTo>
                        <a:pt x="89" y="54"/>
                      </a:lnTo>
                      <a:lnTo>
                        <a:pt x="128" y="20"/>
                      </a:lnTo>
                      <a:lnTo>
                        <a:pt x="109" y="0"/>
                      </a:lnTo>
                      <a:lnTo>
                        <a:pt x="89" y="20"/>
                      </a:lnTo>
                      <a:lnTo>
                        <a:pt x="57" y="33"/>
                      </a:lnTo>
                      <a:lnTo>
                        <a:pt x="38" y="33"/>
                      </a:lnTo>
                      <a:lnTo>
                        <a:pt x="19" y="94"/>
                      </a:lnTo>
                      <a:lnTo>
                        <a:pt x="0" y="114"/>
                      </a:lnTo>
                      <a:lnTo>
                        <a:pt x="57" y="135"/>
                      </a:lnTo>
                      <a:lnTo>
                        <a:pt x="70" y="114"/>
                      </a:lnTo>
                      <a:lnTo>
                        <a:pt x="109" y="94"/>
                      </a:lnTo>
                      <a:lnTo>
                        <a:pt x="128" y="94"/>
                      </a:lnTo>
                      <a:lnTo>
                        <a:pt x="109" y="135"/>
                      </a:lnTo>
                      <a:lnTo>
                        <a:pt x="147" y="135"/>
                      </a:lnTo>
                      <a:lnTo>
                        <a:pt x="166" y="114"/>
                      </a:lnTo>
                      <a:lnTo>
                        <a:pt x="218" y="114"/>
                      </a:lnTo>
                      <a:lnTo>
                        <a:pt x="256" y="74"/>
                      </a:lnTo>
                      <a:lnTo>
                        <a:pt x="276" y="74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6" name="Freeform 17"/>
                <p:cNvSpPr>
                  <a:spLocks/>
                </p:cNvSpPr>
                <p:nvPr/>
              </p:nvSpPr>
              <p:spPr bwMode="blackWhite">
                <a:xfrm>
                  <a:off x="2809828" y="2116880"/>
                  <a:ext cx="495518" cy="776347"/>
                </a:xfrm>
                <a:custGeom>
                  <a:avLst/>
                  <a:gdLst>
                    <a:gd name="T0" fmla="*/ 2147483647 w 328"/>
                    <a:gd name="T1" fmla="*/ 0 h 500"/>
                    <a:gd name="T2" fmla="*/ 2147483647 w 328"/>
                    <a:gd name="T3" fmla="*/ 2147483647 h 500"/>
                    <a:gd name="T4" fmla="*/ 2147483647 w 328"/>
                    <a:gd name="T5" fmla="*/ 2147483647 h 500"/>
                    <a:gd name="T6" fmla="*/ 2147483647 w 328"/>
                    <a:gd name="T7" fmla="*/ 2147483647 h 500"/>
                    <a:gd name="T8" fmla="*/ 2147483647 w 328"/>
                    <a:gd name="T9" fmla="*/ 2147483647 h 500"/>
                    <a:gd name="T10" fmla="*/ 2147483647 w 328"/>
                    <a:gd name="T11" fmla="*/ 2147483647 h 500"/>
                    <a:gd name="T12" fmla="*/ 2147483647 w 328"/>
                    <a:gd name="T13" fmla="*/ 2147483647 h 500"/>
                    <a:gd name="T14" fmla="*/ 2147483647 w 328"/>
                    <a:gd name="T15" fmla="*/ 2147483647 h 500"/>
                    <a:gd name="T16" fmla="*/ 2147483647 w 328"/>
                    <a:gd name="T17" fmla="*/ 2147483647 h 500"/>
                    <a:gd name="T18" fmla="*/ 2147483647 w 328"/>
                    <a:gd name="T19" fmla="*/ 2147483647 h 500"/>
                    <a:gd name="T20" fmla="*/ 2147483647 w 328"/>
                    <a:gd name="T21" fmla="*/ 2147483647 h 500"/>
                    <a:gd name="T22" fmla="*/ 2147483647 w 328"/>
                    <a:gd name="T23" fmla="*/ 2147483647 h 500"/>
                    <a:gd name="T24" fmla="*/ 0 w 328"/>
                    <a:gd name="T25" fmla="*/ 2147483647 h 500"/>
                    <a:gd name="T26" fmla="*/ 2147483647 w 328"/>
                    <a:gd name="T27" fmla="*/ 2147483647 h 500"/>
                    <a:gd name="T28" fmla="*/ 2147483647 w 328"/>
                    <a:gd name="T29" fmla="*/ 2147483647 h 500"/>
                    <a:gd name="T30" fmla="*/ 2147483647 w 328"/>
                    <a:gd name="T31" fmla="*/ 2147483647 h 500"/>
                    <a:gd name="T32" fmla="*/ 2147483647 w 328"/>
                    <a:gd name="T33" fmla="*/ 2147483647 h 500"/>
                    <a:gd name="T34" fmla="*/ 2147483647 w 328"/>
                    <a:gd name="T35" fmla="*/ 2147483647 h 500"/>
                    <a:gd name="T36" fmla="*/ 2147483647 w 328"/>
                    <a:gd name="T37" fmla="*/ 2147483647 h 500"/>
                    <a:gd name="T38" fmla="*/ 2147483647 w 328"/>
                    <a:gd name="T39" fmla="*/ 2147483647 h 500"/>
                    <a:gd name="T40" fmla="*/ 2147483647 w 328"/>
                    <a:gd name="T41" fmla="*/ 2147483647 h 500"/>
                    <a:gd name="T42" fmla="*/ 2147483647 w 328"/>
                    <a:gd name="T43" fmla="*/ 2147483647 h 500"/>
                    <a:gd name="T44" fmla="*/ 2147483647 w 328"/>
                    <a:gd name="T45" fmla="*/ 2147483647 h 500"/>
                    <a:gd name="T46" fmla="*/ 2147483647 w 328"/>
                    <a:gd name="T47" fmla="*/ 2147483647 h 500"/>
                    <a:gd name="T48" fmla="*/ 2147483647 w 328"/>
                    <a:gd name="T49" fmla="*/ 2147483647 h 500"/>
                    <a:gd name="T50" fmla="*/ 2147483647 w 328"/>
                    <a:gd name="T51" fmla="*/ 2147483647 h 500"/>
                    <a:gd name="T52" fmla="*/ 2147483647 w 328"/>
                    <a:gd name="T53" fmla="*/ 2147483647 h 500"/>
                    <a:gd name="T54" fmla="*/ 2147483647 w 328"/>
                    <a:gd name="T55" fmla="*/ 2147483647 h 500"/>
                    <a:gd name="T56" fmla="*/ 2147483647 w 328"/>
                    <a:gd name="T57" fmla="*/ 2147483647 h 500"/>
                    <a:gd name="T58" fmla="*/ 2147483647 w 328"/>
                    <a:gd name="T59" fmla="*/ 2147483647 h 500"/>
                    <a:gd name="T60" fmla="*/ 2147483647 w 328"/>
                    <a:gd name="T61" fmla="*/ 2147483647 h 500"/>
                    <a:gd name="T62" fmla="*/ 2147483647 w 328"/>
                    <a:gd name="T63" fmla="*/ 2147483647 h 500"/>
                    <a:gd name="T64" fmla="*/ 2147483647 w 328"/>
                    <a:gd name="T65" fmla="*/ 2147483647 h 500"/>
                    <a:gd name="T66" fmla="*/ 2147483647 w 328"/>
                    <a:gd name="T67" fmla="*/ 2147483647 h 500"/>
                    <a:gd name="T68" fmla="*/ 2147483647 w 328"/>
                    <a:gd name="T69" fmla="*/ 0 h 500"/>
                    <a:gd name="T70" fmla="*/ 2147483647 w 328"/>
                    <a:gd name="T71" fmla="*/ 0 h 50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28"/>
                    <a:gd name="T109" fmla="*/ 0 h 500"/>
                    <a:gd name="T110" fmla="*/ 328 w 328"/>
                    <a:gd name="T111" fmla="*/ 500 h 50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28" h="500">
                      <a:moveTo>
                        <a:pt x="249" y="0"/>
                      </a:moveTo>
                      <a:lnTo>
                        <a:pt x="237" y="20"/>
                      </a:lnTo>
                      <a:lnTo>
                        <a:pt x="217" y="20"/>
                      </a:lnTo>
                      <a:lnTo>
                        <a:pt x="198" y="40"/>
                      </a:lnTo>
                      <a:lnTo>
                        <a:pt x="179" y="81"/>
                      </a:lnTo>
                      <a:lnTo>
                        <a:pt x="179" y="114"/>
                      </a:lnTo>
                      <a:lnTo>
                        <a:pt x="159" y="175"/>
                      </a:lnTo>
                      <a:lnTo>
                        <a:pt x="159" y="209"/>
                      </a:lnTo>
                      <a:lnTo>
                        <a:pt x="140" y="229"/>
                      </a:lnTo>
                      <a:lnTo>
                        <a:pt x="89" y="249"/>
                      </a:lnTo>
                      <a:lnTo>
                        <a:pt x="51" y="270"/>
                      </a:lnTo>
                      <a:lnTo>
                        <a:pt x="19" y="310"/>
                      </a:lnTo>
                      <a:lnTo>
                        <a:pt x="0" y="385"/>
                      </a:lnTo>
                      <a:lnTo>
                        <a:pt x="19" y="458"/>
                      </a:lnTo>
                      <a:lnTo>
                        <a:pt x="19" y="478"/>
                      </a:lnTo>
                      <a:lnTo>
                        <a:pt x="32" y="478"/>
                      </a:lnTo>
                      <a:lnTo>
                        <a:pt x="70" y="499"/>
                      </a:lnTo>
                      <a:lnTo>
                        <a:pt x="109" y="499"/>
                      </a:lnTo>
                      <a:lnTo>
                        <a:pt x="140" y="458"/>
                      </a:lnTo>
                      <a:lnTo>
                        <a:pt x="140" y="438"/>
                      </a:lnTo>
                      <a:lnTo>
                        <a:pt x="127" y="424"/>
                      </a:lnTo>
                      <a:lnTo>
                        <a:pt x="127" y="405"/>
                      </a:lnTo>
                      <a:lnTo>
                        <a:pt x="140" y="385"/>
                      </a:lnTo>
                      <a:lnTo>
                        <a:pt x="179" y="405"/>
                      </a:lnTo>
                      <a:lnTo>
                        <a:pt x="249" y="385"/>
                      </a:lnTo>
                      <a:lnTo>
                        <a:pt x="288" y="344"/>
                      </a:lnTo>
                      <a:lnTo>
                        <a:pt x="307" y="324"/>
                      </a:lnTo>
                      <a:lnTo>
                        <a:pt x="307" y="290"/>
                      </a:lnTo>
                      <a:lnTo>
                        <a:pt x="327" y="270"/>
                      </a:lnTo>
                      <a:lnTo>
                        <a:pt x="327" y="249"/>
                      </a:lnTo>
                      <a:lnTo>
                        <a:pt x="288" y="195"/>
                      </a:lnTo>
                      <a:lnTo>
                        <a:pt x="288" y="155"/>
                      </a:lnTo>
                      <a:lnTo>
                        <a:pt x="269" y="81"/>
                      </a:lnTo>
                      <a:lnTo>
                        <a:pt x="269" y="40"/>
                      </a:lnTo>
                      <a:lnTo>
                        <a:pt x="269" y="0"/>
                      </a:lnTo>
                      <a:lnTo>
                        <a:pt x="249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7" name="Freeform 18"/>
                <p:cNvSpPr>
                  <a:spLocks/>
                </p:cNvSpPr>
                <p:nvPr/>
              </p:nvSpPr>
              <p:spPr bwMode="blackWhite">
                <a:xfrm>
                  <a:off x="2588635" y="1941227"/>
                  <a:ext cx="600693" cy="889113"/>
                </a:xfrm>
                <a:custGeom>
                  <a:avLst/>
                  <a:gdLst>
                    <a:gd name="T0" fmla="*/ 2147483647 w 399"/>
                    <a:gd name="T1" fmla="*/ 0 h 573"/>
                    <a:gd name="T2" fmla="*/ 2147483647 w 399"/>
                    <a:gd name="T3" fmla="*/ 2147483647 h 573"/>
                    <a:gd name="T4" fmla="*/ 2147483647 w 399"/>
                    <a:gd name="T5" fmla="*/ 2147483647 h 573"/>
                    <a:gd name="T6" fmla="*/ 2147483647 w 399"/>
                    <a:gd name="T7" fmla="*/ 2147483647 h 573"/>
                    <a:gd name="T8" fmla="*/ 2147483647 w 399"/>
                    <a:gd name="T9" fmla="*/ 2147483647 h 573"/>
                    <a:gd name="T10" fmla="*/ 2147483647 w 399"/>
                    <a:gd name="T11" fmla="*/ 2147483647 h 573"/>
                    <a:gd name="T12" fmla="*/ 0 w 399"/>
                    <a:gd name="T13" fmla="*/ 2147483647 h 573"/>
                    <a:gd name="T14" fmla="*/ 2147483647 w 399"/>
                    <a:gd name="T15" fmla="*/ 2147483647 h 573"/>
                    <a:gd name="T16" fmla="*/ 2147483647 w 399"/>
                    <a:gd name="T17" fmla="*/ 2147483647 h 573"/>
                    <a:gd name="T18" fmla="*/ 2147483647 w 399"/>
                    <a:gd name="T19" fmla="*/ 2147483647 h 573"/>
                    <a:gd name="T20" fmla="*/ 2147483647 w 399"/>
                    <a:gd name="T21" fmla="*/ 2147483647 h 573"/>
                    <a:gd name="T22" fmla="*/ 2147483647 w 399"/>
                    <a:gd name="T23" fmla="*/ 2147483647 h 573"/>
                    <a:gd name="T24" fmla="*/ 2147483647 w 399"/>
                    <a:gd name="T25" fmla="*/ 2147483647 h 573"/>
                    <a:gd name="T26" fmla="*/ 2147483647 w 399"/>
                    <a:gd name="T27" fmla="*/ 2147483647 h 573"/>
                    <a:gd name="T28" fmla="*/ 2147483647 w 399"/>
                    <a:gd name="T29" fmla="*/ 2147483647 h 573"/>
                    <a:gd name="T30" fmla="*/ 2147483647 w 399"/>
                    <a:gd name="T31" fmla="*/ 2147483647 h 573"/>
                    <a:gd name="T32" fmla="*/ 2147483647 w 399"/>
                    <a:gd name="T33" fmla="*/ 2147483647 h 573"/>
                    <a:gd name="T34" fmla="*/ 2147483647 w 399"/>
                    <a:gd name="T35" fmla="*/ 2147483647 h 573"/>
                    <a:gd name="T36" fmla="*/ 2147483647 w 399"/>
                    <a:gd name="T37" fmla="*/ 2147483647 h 573"/>
                    <a:gd name="T38" fmla="*/ 2147483647 w 399"/>
                    <a:gd name="T39" fmla="*/ 2147483647 h 573"/>
                    <a:gd name="T40" fmla="*/ 2147483647 w 399"/>
                    <a:gd name="T41" fmla="*/ 2147483647 h 573"/>
                    <a:gd name="T42" fmla="*/ 2147483647 w 399"/>
                    <a:gd name="T43" fmla="*/ 2147483647 h 573"/>
                    <a:gd name="T44" fmla="*/ 2147483647 w 399"/>
                    <a:gd name="T45" fmla="*/ 2147483647 h 573"/>
                    <a:gd name="T46" fmla="*/ 2147483647 w 399"/>
                    <a:gd name="T47" fmla="*/ 2147483647 h 573"/>
                    <a:gd name="T48" fmla="*/ 2147483647 w 399"/>
                    <a:gd name="T49" fmla="*/ 2147483647 h 573"/>
                    <a:gd name="T50" fmla="*/ 2147483647 w 399"/>
                    <a:gd name="T51" fmla="*/ 2147483647 h 573"/>
                    <a:gd name="T52" fmla="*/ 2147483647 w 399"/>
                    <a:gd name="T53" fmla="*/ 2147483647 h 573"/>
                    <a:gd name="T54" fmla="*/ 2147483647 w 399"/>
                    <a:gd name="T55" fmla="*/ 2147483647 h 573"/>
                    <a:gd name="T56" fmla="*/ 2147483647 w 399"/>
                    <a:gd name="T57" fmla="*/ 2147483647 h 573"/>
                    <a:gd name="T58" fmla="*/ 2147483647 w 399"/>
                    <a:gd name="T59" fmla="*/ 2147483647 h 573"/>
                    <a:gd name="T60" fmla="*/ 2147483647 w 399"/>
                    <a:gd name="T61" fmla="*/ 2147483647 h 573"/>
                    <a:gd name="T62" fmla="*/ 2147483647 w 399"/>
                    <a:gd name="T63" fmla="*/ 2147483647 h 573"/>
                    <a:gd name="T64" fmla="*/ 2147483647 w 399"/>
                    <a:gd name="T65" fmla="*/ 2147483647 h 573"/>
                    <a:gd name="T66" fmla="*/ 2147483647 w 399"/>
                    <a:gd name="T67" fmla="*/ 2147483647 h 573"/>
                    <a:gd name="T68" fmla="*/ 2147483647 w 399"/>
                    <a:gd name="T69" fmla="*/ 2147483647 h 573"/>
                    <a:gd name="T70" fmla="*/ 2147483647 w 399"/>
                    <a:gd name="T71" fmla="*/ 2147483647 h 573"/>
                    <a:gd name="T72" fmla="*/ 2147483647 w 399"/>
                    <a:gd name="T73" fmla="*/ 2147483647 h 573"/>
                    <a:gd name="T74" fmla="*/ 2147483647 w 399"/>
                    <a:gd name="T75" fmla="*/ 2147483647 h 573"/>
                    <a:gd name="T76" fmla="*/ 2147483647 w 399"/>
                    <a:gd name="T77" fmla="*/ 2147483647 h 573"/>
                    <a:gd name="T78" fmla="*/ 2147483647 w 399"/>
                    <a:gd name="T79" fmla="*/ 2147483647 h 573"/>
                    <a:gd name="T80" fmla="*/ 2147483647 w 399"/>
                    <a:gd name="T81" fmla="*/ 2147483647 h 573"/>
                    <a:gd name="T82" fmla="*/ 2147483647 w 399"/>
                    <a:gd name="T83" fmla="*/ 2147483647 h 573"/>
                    <a:gd name="T84" fmla="*/ 2147483647 w 399"/>
                    <a:gd name="T85" fmla="*/ 0 h 5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99"/>
                    <a:gd name="T130" fmla="*/ 0 h 573"/>
                    <a:gd name="T131" fmla="*/ 399 w 399"/>
                    <a:gd name="T132" fmla="*/ 573 h 5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99" h="573">
                      <a:moveTo>
                        <a:pt x="128" y="0"/>
                      </a:moveTo>
                      <a:lnTo>
                        <a:pt x="128" y="60"/>
                      </a:lnTo>
                      <a:lnTo>
                        <a:pt x="109" y="134"/>
                      </a:lnTo>
                      <a:lnTo>
                        <a:pt x="90" y="194"/>
                      </a:lnTo>
                      <a:lnTo>
                        <a:pt x="57" y="228"/>
                      </a:lnTo>
                      <a:lnTo>
                        <a:pt x="19" y="248"/>
                      </a:lnTo>
                      <a:lnTo>
                        <a:pt x="0" y="269"/>
                      </a:lnTo>
                      <a:lnTo>
                        <a:pt x="38" y="269"/>
                      </a:lnTo>
                      <a:lnTo>
                        <a:pt x="57" y="289"/>
                      </a:lnTo>
                      <a:lnTo>
                        <a:pt x="57" y="309"/>
                      </a:lnTo>
                      <a:lnTo>
                        <a:pt x="38" y="343"/>
                      </a:lnTo>
                      <a:lnTo>
                        <a:pt x="57" y="404"/>
                      </a:lnTo>
                      <a:lnTo>
                        <a:pt x="90" y="424"/>
                      </a:lnTo>
                      <a:lnTo>
                        <a:pt x="109" y="404"/>
                      </a:lnTo>
                      <a:lnTo>
                        <a:pt x="128" y="424"/>
                      </a:lnTo>
                      <a:lnTo>
                        <a:pt x="128" y="437"/>
                      </a:lnTo>
                      <a:lnTo>
                        <a:pt x="109" y="458"/>
                      </a:lnTo>
                      <a:lnTo>
                        <a:pt x="90" y="498"/>
                      </a:lnTo>
                      <a:lnTo>
                        <a:pt x="109" y="538"/>
                      </a:lnTo>
                      <a:lnTo>
                        <a:pt x="147" y="572"/>
                      </a:lnTo>
                      <a:lnTo>
                        <a:pt x="167" y="572"/>
                      </a:lnTo>
                      <a:lnTo>
                        <a:pt x="147" y="498"/>
                      </a:lnTo>
                      <a:lnTo>
                        <a:pt x="167" y="424"/>
                      </a:lnTo>
                      <a:lnTo>
                        <a:pt x="199" y="383"/>
                      </a:lnTo>
                      <a:lnTo>
                        <a:pt x="237" y="363"/>
                      </a:lnTo>
                      <a:lnTo>
                        <a:pt x="288" y="343"/>
                      </a:lnTo>
                      <a:lnTo>
                        <a:pt x="307" y="323"/>
                      </a:lnTo>
                      <a:lnTo>
                        <a:pt x="307" y="289"/>
                      </a:lnTo>
                      <a:lnTo>
                        <a:pt x="327" y="228"/>
                      </a:lnTo>
                      <a:lnTo>
                        <a:pt x="327" y="194"/>
                      </a:lnTo>
                      <a:lnTo>
                        <a:pt x="346" y="154"/>
                      </a:lnTo>
                      <a:lnTo>
                        <a:pt x="365" y="134"/>
                      </a:lnTo>
                      <a:lnTo>
                        <a:pt x="385" y="134"/>
                      </a:lnTo>
                      <a:lnTo>
                        <a:pt x="398" y="113"/>
                      </a:lnTo>
                      <a:lnTo>
                        <a:pt x="385" y="113"/>
                      </a:lnTo>
                      <a:lnTo>
                        <a:pt x="346" y="93"/>
                      </a:lnTo>
                      <a:lnTo>
                        <a:pt x="288" y="80"/>
                      </a:lnTo>
                      <a:lnTo>
                        <a:pt x="257" y="60"/>
                      </a:lnTo>
                      <a:lnTo>
                        <a:pt x="237" y="93"/>
                      </a:lnTo>
                      <a:lnTo>
                        <a:pt x="237" y="60"/>
                      </a:lnTo>
                      <a:lnTo>
                        <a:pt x="199" y="40"/>
                      </a:lnTo>
                      <a:lnTo>
                        <a:pt x="180" y="2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6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8" name="Freeform 19"/>
                <p:cNvSpPr>
                  <a:spLocks/>
                </p:cNvSpPr>
                <p:nvPr/>
              </p:nvSpPr>
              <p:spPr bwMode="blackWhite">
                <a:xfrm>
                  <a:off x="2393464" y="2358676"/>
                  <a:ext cx="448893" cy="826224"/>
                </a:xfrm>
                <a:custGeom>
                  <a:avLst/>
                  <a:gdLst>
                    <a:gd name="T0" fmla="*/ 2147483647 w 297"/>
                    <a:gd name="T1" fmla="*/ 0 h 534"/>
                    <a:gd name="T2" fmla="*/ 2147483647 w 297"/>
                    <a:gd name="T3" fmla="*/ 2147483647 h 534"/>
                    <a:gd name="T4" fmla="*/ 2147483647 w 297"/>
                    <a:gd name="T5" fmla="*/ 2147483647 h 534"/>
                    <a:gd name="T6" fmla="*/ 2147483647 w 297"/>
                    <a:gd name="T7" fmla="*/ 2147483647 h 534"/>
                    <a:gd name="T8" fmla="*/ 2147483647 w 297"/>
                    <a:gd name="T9" fmla="*/ 2147483647 h 534"/>
                    <a:gd name="T10" fmla="*/ 2147483647 w 297"/>
                    <a:gd name="T11" fmla="*/ 2147483647 h 534"/>
                    <a:gd name="T12" fmla="*/ 2147483647 w 297"/>
                    <a:gd name="T13" fmla="*/ 2147483647 h 534"/>
                    <a:gd name="T14" fmla="*/ 2147483647 w 297"/>
                    <a:gd name="T15" fmla="*/ 2147483647 h 534"/>
                    <a:gd name="T16" fmla="*/ 0 w 297"/>
                    <a:gd name="T17" fmla="*/ 2147483647 h 534"/>
                    <a:gd name="T18" fmla="*/ 0 w 297"/>
                    <a:gd name="T19" fmla="*/ 2147483647 h 534"/>
                    <a:gd name="T20" fmla="*/ 2147483647 w 297"/>
                    <a:gd name="T21" fmla="*/ 2147483647 h 534"/>
                    <a:gd name="T22" fmla="*/ 0 w 297"/>
                    <a:gd name="T23" fmla="*/ 2147483647 h 534"/>
                    <a:gd name="T24" fmla="*/ 2147483647 w 297"/>
                    <a:gd name="T25" fmla="*/ 2147483647 h 534"/>
                    <a:gd name="T26" fmla="*/ 2147483647 w 297"/>
                    <a:gd name="T27" fmla="*/ 2147483647 h 534"/>
                    <a:gd name="T28" fmla="*/ 2147483647 w 297"/>
                    <a:gd name="T29" fmla="*/ 2147483647 h 534"/>
                    <a:gd name="T30" fmla="*/ 2147483647 w 297"/>
                    <a:gd name="T31" fmla="*/ 2147483647 h 534"/>
                    <a:gd name="T32" fmla="*/ 2147483647 w 297"/>
                    <a:gd name="T33" fmla="*/ 2147483647 h 534"/>
                    <a:gd name="T34" fmla="*/ 2147483647 w 297"/>
                    <a:gd name="T35" fmla="*/ 2147483647 h 534"/>
                    <a:gd name="T36" fmla="*/ 2147483647 w 297"/>
                    <a:gd name="T37" fmla="*/ 2147483647 h 534"/>
                    <a:gd name="T38" fmla="*/ 2147483647 w 297"/>
                    <a:gd name="T39" fmla="*/ 2147483647 h 534"/>
                    <a:gd name="T40" fmla="*/ 2147483647 w 297"/>
                    <a:gd name="T41" fmla="*/ 2147483647 h 534"/>
                    <a:gd name="T42" fmla="*/ 2147483647 w 297"/>
                    <a:gd name="T43" fmla="*/ 2147483647 h 534"/>
                    <a:gd name="T44" fmla="*/ 2147483647 w 297"/>
                    <a:gd name="T45" fmla="*/ 2147483647 h 534"/>
                    <a:gd name="T46" fmla="*/ 2147483647 w 297"/>
                    <a:gd name="T47" fmla="*/ 2147483647 h 534"/>
                    <a:gd name="T48" fmla="*/ 2147483647 w 297"/>
                    <a:gd name="T49" fmla="*/ 2147483647 h 534"/>
                    <a:gd name="T50" fmla="*/ 2147483647 w 297"/>
                    <a:gd name="T51" fmla="*/ 2147483647 h 534"/>
                    <a:gd name="T52" fmla="*/ 2147483647 w 297"/>
                    <a:gd name="T53" fmla="*/ 2147483647 h 534"/>
                    <a:gd name="T54" fmla="*/ 2147483647 w 297"/>
                    <a:gd name="T55" fmla="*/ 2147483647 h 534"/>
                    <a:gd name="T56" fmla="*/ 2147483647 w 297"/>
                    <a:gd name="T57" fmla="*/ 2147483647 h 534"/>
                    <a:gd name="T58" fmla="*/ 2147483647 w 297"/>
                    <a:gd name="T59" fmla="*/ 2147483647 h 534"/>
                    <a:gd name="T60" fmla="*/ 2147483647 w 297"/>
                    <a:gd name="T61" fmla="*/ 2147483647 h 534"/>
                    <a:gd name="T62" fmla="*/ 2147483647 w 297"/>
                    <a:gd name="T63" fmla="*/ 2147483647 h 534"/>
                    <a:gd name="T64" fmla="*/ 2147483647 w 297"/>
                    <a:gd name="T65" fmla="*/ 2147483647 h 534"/>
                    <a:gd name="T66" fmla="*/ 2147483647 w 297"/>
                    <a:gd name="T67" fmla="*/ 2147483647 h 534"/>
                    <a:gd name="T68" fmla="*/ 2147483647 w 297"/>
                    <a:gd name="T69" fmla="*/ 2147483647 h 534"/>
                    <a:gd name="T70" fmla="*/ 2147483647 w 297"/>
                    <a:gd name="T71" fmla="*/ 2147483647 h 534"/>
                    <a:gd name="T72" fmla="*/ 2147483647 w 297"/>
                    <a:gd name="T73" fmla="*/ 2147483647 h 534"/>
                    <a:gd name="T74" fmla="*/ 2147483647 w 297"/>
                    <a:gd name="T75" fmla="*/ 0 h 534"/>
                    <a:gd name="T76" fmla="*/ 2147483647 w 297"/>
                    <a:gd name="T77" fmla="*/ 0 h 53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97"/>
                    <a:gd name="T118" fmla="*/ 0 h 534"/>
                    <a:gd name="T119" fmla="*/ 297 w 297"/>
                    <a:gd name="T120" fmla="*/ 534 h 53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97" h="534">
                      <a:moveTo>
                        <a:pt x="128" y="0"/>
                      </a:moveTo>
                      <a:lnTo>
                        <a:pt x="148" y="20"/>
                      </a:lnTo>
                      <a:lnTo>
                        <a:pt x="148" y="40"/>
                      </a:lnTo>
                      <a:lnTo>
                        <a:pt x="90" y="94"/>
                      </a:lnTo>
                      <a:lnTo>
                        <a:pt x="77" y="135"/>
                      </a:lnTo>
                      <a:lnTo>
                        <a:pt x="77" y="189"/>
                      </a:lnTo>
                      <a:lnTo>
                        <a:pt x="57" y="229"/>
                      </a:lnTo>
                      <a:lnTo>
                        <a:pt x="19" y="282"/>
                      </a:lnTo>
                      <a:lnTo>
                        <a:pt x="0" y="343"/>
                      </a:lnTo>
                      <a:lnTo>
                        <a:pt x="0" y="397"/>
                      </a:lnTo>
                      <a:lnTo>
                        <a:pt x="19" y="458"/>
                      </a:lnTo>
                      <a:lnTo>
                        <a:pt x="0" y="512"/>
                      </a:lnTo>
                      <a:lnTo>
                        <a:pt x="19" y="512"/>
                      </a:lnTo>
                      <a:lnTo>
                        <a:pt x="57" y="499"/>
                      </a:lnTo>
                      <a:lnTo>
                        <a:pt x="90" y="499"/>
                      </a:lnTo>
                      <a:lnTo>
                        <a:pt x="109" y="512"/>
                      </a:lnTo>
                      <a:lnTo>
                        <a:pt x="148" y="533"/>
                      </a:lnTo>
                      <a:lnTo>
                        <a:pt x="167" y="512"/>
                      </a:lnTo>
                      <a:lnTo>
                        <a:pt x="199" y="499"/>
                      </a:lnTo>
                      <a:lnTo>
                        <a:pt x="276" y="512"/>
                      </a:lnTo>
                      <a:lnTo>
                        <a:pt x="276" y="438"/>
                      </a:lnTo>
                      <a:lnTo>
                        <a:pt x="257" y="384"/>
                      </a:lnTo>
                      <a:lnTo>
                        <a:pt x="276" y="343"/>
                      </a:lnTo>
                      <a:lnTo>
                        <a:pt x="296" y="323"/>
                      </a:lnTo>
                      <a:lnTo>
                        <a:pt x="296" y="303"/>
                      </a:lnTo>
                      <a:lnTo>
                        <a:pt x="276" y="303"/>
                      </a:lnTo>
                      <a:lnTo>
                        <a:pt x="238" y="269"/>
                      </a:lnTo>
                      <a:lnTo>
                        <a:pt x="218" y="229"/>
                      </a:lnTo>
                      <a:lnTo>
                        <a:pt x="238" y="189"/>
                      </a:lnTo>
                      <a:lnTo>
                        <a:pt x="257" y="168"/>
                      </a:lnTo>
                      <a:lnTo>
                        <a:pt x="257" y="155"/>
                      </a:lnTo>
                      <a:lnTo>
                        <a:pt x="238" y="135"/>
                      </a:lnTo>
                      <a:lnTo>
                        <a:pt x="218" y="155"/>
                      </a:lnTo>
                      <a:lnTo>
                        <a:pt x="186" y="135"/>
                      </a:lnTo>
                      <a:lnTo>
                        <a:pt x="167" y="74"/>
                      </a:lnTo>
                      <a:lnTo>
                        <a:pt x="186" y="40"/>
                      </a:lnTo>
                      <a:lnTo>
                        <a:pt x="186" y="20"/>
                      </a:lnTo>
                      <a:lnTo>
                        <a:pt x="167" y="0"/>
                      </a:lnTo>
                      <a:lnTo>
                        <a:pt x="128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9" name="Freeform 21"/>
                <p:cNvSpPr>
                  <a:spLocks/>
                </p:cNvSpPr>
                <p:nvPr/>
              </p:nvSpPr>
              <p:spPr bwMode="blackWhite">
                <a:xfrm>
                  <a:off x="1868670" y="3510186"/>
                  <a:ext cx="552985" cy="647318"/>
                </a:xfrm>
                <a:custGeom>
                  <a:avLst/>
                  <a:gdLst>
                    <a:gd name="T0" fmla="*/ 2147483647 w 367"/>
                    <a:gd name="T1" fmla="*/ 2147483647 h 419"/>
                    <a:gd name="T2" fmla="*/ 2147483647 w 367"/>
                    <a:gd name="T3" fmla="*/ 2147483647 h 419"/>
                    <a:gd name="T4" fmla="*/ 2147483647 w 367"/>
                    <a:gd name="T5" fmla="*/ 0 h 419"/>
                    <a:gd name="T6" fmla="*/ 2147483647 w 367"/>
                    <a:gd name="T7" fmla="*/ 0 h 419"/>
                    <a:gd name="T8" fmla="*/ 2147483647 w 367"/>
                    <a:gd name="T9" fmla="*/ 2147483647 h 419"/>
                    <a:gd name="T10" fmla="*/ 2147483647 w 367"/>
                    <a:gd name="T11" fmla="*/ 2147483647 h 419"/>
                    <a:gd name="T12" fmla="*/ 2147483647 w 367"/>
                    <a:gd name="T13" fmla="*/ 2147483647 h 419"/>
                    <a:gd name="T14" fmla="*/ 2147483647 w 367"/>
                    <a:gd name="T15" fmla="*/ 2147483647 h 419"/>
                    <a:gd name="T16" fmla="*/ 0 w 367"/>
                    <a:gd name="T17" fmla="*/ 2147483647 h 419"/>
                    <a:gd name="T18" fmla="*/ 0 w 367"/>
                    <a:gd name="T19" fmla="*/ 2147483647 h 419"/>
                    <a:gd name="T20" fmla="*/ 2147483647 w 367"/>
                    <a:gd name="T21" fmla="*/ 2147483647 h 419"/>
                    <a:gd name="T22" fmla="*/ 2147483647 w 367"/>
                    <a:gd name="T23" fmla="*/ 2147483647 h 419"/>
                    <a:gd name="T24" fmla="*/ 0 w 367"/>
                    <a:gd name="T25" fmla="*/ 2147483647 h 419"/>
                    <a:gd name="T26" fmla="*/ 0 w 367"/>
                    <a:gd name="T27" fmla="*/ 2147483647 h 419"/>
                    <a:gd name="T28" fmla="*/ 2147483647 w 367"/>
                    <a:gd name="T29" fmla="*/ 2147483647 h 419"/>
                    <a:gd name="T30" fmla="*/ 2147483647 w 367"/>
                    <a:gd name="T31" fmla="*/ 2147483647 h 419"/>
                    <a:gd name="T32" fmla="*/ 2147483647 w 367"/>
                    <a:gd name="T33" fmla="*/ 2147483647 h 419"/>
                    <a:gd name="T34" fmla="*/ 2147483647 w 367"/>
                    <a:gd name="T35" fmla="*/ 2147483647 h 419"/>
                    <a:gd name="T36" fmla="*/ 2147483647 w 367"/>
                    <a:gd name="T37" fmla="*/ 2147483647 h 419"/>
                    <a:gd name="T38" fmla="*/ 2147483647 w 367"/>
                    <a:gd name="T39" fmla="*/ 2147483647 h 419"/>
                    <a:gd name="T40" fmla="*/ 2147483647 w 367"/>
                    <a:gd name="T41" fmla="*/ 2147483647 h 419"/>
                    <a:gd name="T42" fmla="*/ 2147483647 w 367"/>
                    <a:gd name="T43" fmla="*/ 2147483647 h 419"/>
                    <a:gd name="T44" fmla="*/ 2147483647 w 367"/>
                    <a:gd name="T45" fmla="*/ 2147483647 h 419"/>
                    <a:gd name="T46" fmla="*/ 2147483647 w 367"/>
                    <a:gd name="T47" fmla="*/ 2147483647 h 419"/>
                    <a:gd name="T48" fmla="*/ 2147483647 w 367"/>
                    <a:gd name="T49" fmla="*/ 2147483647 h 419"/>
                    <a:gd name="T50" fmla="*/ 2147483647 w 367"/>
                    <a:gd name="T51" fmla="*/ 2147483647 h 419"/>
                    <a:gd name="T52" fmla="*/ 2147483647 w 367"/>
                    <a:gd name="T53" fmla="*/ 2147483647 h 419"/>
                    <a:gd name="T54" fmla="*/ 2147483647 w 367"/>
                    <a:gd name="T55" fmla="*/ 2147483647 h 419"/>
                    <a:gd name="T56" fmla="*/ 2147483647 w 367"/>
                    <a:gd name="T57" fmla="*/ 2147483647 h 419"/>
                    <a:gd name="T58" fmla="*/ 2147483647 w 367"/>
                    <a:gd name="T59" fmla="*/ 2147483647 h 419"/>
                    <a:gd name="T60" fmla="*/ 2147483647 w 367"/>
                    <a:gd name="T61" fmla="*/ 2147483647 h 41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67"/>
                    <a:gd name="T94" fmla="*/ 0 h 419"/>
                    <a:gd name="T95" fmla="*/ 367 w 367"/>
                    <a:gd name="T96" fmla="*/ 419 h 41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67" h="419">
                      <a:moveTo>
                        <a:pt x="218" y="13"/>
                      </a:moveTo>
                      <a:lnTo>
                        <a:pt x="205" y="13"/>
                      </a:lnTo>
                      <a:lnTo>
                        <a:pt x="186" y="0"/>
                      </a:lnTo>
                      <a:lnTo>
                        <a:pt x="166" y="0"/>
                      </a:lnTo>
                      <a:lnTo>
                        <a:pt x="147" y="13"/>
                      </a:lnTo>
                      <a:lnTo>
                        <a:pt x="109" y="33"/>
                      </a:lnTo>
                      <a:lnTo>
                        <a:pt x="57" y="13"/>
                      </a:lnTo>
                      <a:lnTo>
                        <a:pt x="19" y="13"/>
                      </a:lnTo>
                      <a:lnTo>
                        <a:pt x="0" y="33"/>
                      </a:lnTo>
                      <a:lnTo>
                        <a:pt x="0" y="94"/>
                      </a:lnTo>
                      <a:lnTo>
                        <a:pt x="19" y="114"/>
                      </a:lnTo>
                      <a:lnTo>
                        <a:pt x="19" y="148"/>
                      </a:lnTo>
                      <a:lnTo>
                        <a:pt x="0" y="189"/>
                      </a:lnTo>
                      <a:lnTo>
                        <a:pt x="0" y="304"/>
                      </a:lnTo>
                      <a:lnTo>
                        <a:pt x="19" y="324"/>
                      </a:lnTo>
                      <a:lnTo>
                        <a:pt x="96" y="324"/>
                      </a:lnTo>
                      <a:lnTo>
                        <a:pt x="109" y="344"/>
                      </a:lnTo>
                      <a:lnTo>
                        <a:pt x="128" y="397"/>
                      </a:lnTo>
                      <a:lnTo>
                        <a:pt x="147" y="418"/>
                      </a:lnTo>
                      <a:lnTo>
                        <a:pt x="186" y="418"/>
                      </a:lnTo>
                      <a:lnTo>
                        <a:pt x="186" y="397"/>
                      </a:lnTo>
                      <a:lnTo>
                        <a:pt x="218" y="344"/>
                      </a:lnTo>
                      <a:lnTo>
                        <a:pt x="237" y="324"/>
                      </a:lnTo>
                      <a:lnTo>
                        <a:pt x="295" y="263"/>
                      </a:lnTo>
                      <a:lnTo>
                        <a:pt x="327" y="209"/>
                      </a:lnTo>
                      <a:lnTo>
                        <a:pt x="366" y="148"/>
                      </a:lnTo>
                      <a:lnTo>
                        <a:pt x="366" y="114"/>
                      </a:lnTo>
                      <a:lnTo>
                        <a:pt x="327" y="114"/>
                      </a:lnTo>
                      <a:lnTo>
                        <a:pt x="256" y="54"/>
                      </a:lnTo>
                      <a:lnTo>
                        <a:pt x="218" y="33"/>
                      </a:lnTo>
                      <a:lnTo>
                        <a:pt x="218" y="13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0" name="Freeform 23"/>
                <p:cNvSpPr>
                  <a:spLocks/>
                </p:cNvSpPr>
                <p:nvPr/>
              </p:nvSpPr>
              <p:spPr bwMode="blackWhite">
                <a:xfrm>
                  <a:off x="1024013" y="2648180"/>
                  <a:ext cx="613705" cy="560575"/>
                </a:xfrm>
                <a:custGeom>
                  <a:avLst/>
                  <a:gdLst>
                    <a:gd name="T0" fmla="*/ 2147483647 w 406"/>
                    <a:gd name="T1" fmla="*/ 2147483647 h 364"/>
                    <a:gd name="T2" fmla="*/ 2147483647 w 406"/>
                    <a:gd name="T3" fmla="*/ 2147483647 h 364"/>
                    <a:gd name="T4" fmla="*/ 2147483647 w 406"/>
                    <a:gd name="T5" fmla="*/ 2147483647 h 364"/>
                    <a:gd name="T6" fmla="*/ 2147483647 w 406"/>
                    <a:gd name="T7" fmla="*/ 2147483647 h 364"/>
                    <a:gd name="T8" fmla="*/ 2147483647 w 406"/>
                    <a:gd name="T9" fmla="*/ 2147483647 h 364"/>
                    <a:gd name="T10" fmla="*/ 2147483647 w 406"/>
                    <a:gd name="T11" fmla="*/ 2147483647 h 364"/>
                    <a:gd name="T12" fmla="*/ 2147483647 w 406"/>
                    <a:gd name="T13" fmla="*/ 2147483647 h 364"/>
                    <a:gd name="T14" fmla="*/ 2147483647 w 406"/>
                    <a:gd name="T15" fmla="*/ 0 h 364"/>
                    <a:gd name="T16" fmla="*/ 2147483647 w 406"/>
                    <a:gd name="T17" fmla="*/ 2147483647 h 364"/>
                    <a:gd name="T18" fmla="*/ 2147483647 w 406"/>
                    <a:gd name="T19" fmla="*/ 2147483647 h 364"/>
                    <a:gd name="T20" fmla="*/ 2147483647 w 406"/>
                    <a:gd name="T21" fmla="*/ 2147483647 h 364"/>
                    <a:gd name="T22" fmla="*/ 2147483647 w 406"/>
                    <a:gd name="T23" fmla="*/ 2147483647 h 364"/>
                    <a:gd name="T24" fmla="*/ 2147483647 w 406"/>
                    <a:gd name="T25" fmla="*/ 2147483647 h 364"/>
                    <a:gd name="T26" fmla="*/ 2147483647 w 406"/>
                    <a:gd name="T27" fmla="*/ 2147483647 h 364"/>
                    <a:gd name="T28" fmla="*/ 0 w 406"/>
                    <a:gd name="T29" fmla="*/ 2147483647 h 364"/>
                    <a:gd name="T30" fmla="*/ 2147483647 w 406"/>
                    <a:gd name="T31" fmla="*/ 2147483647 h 364"/>
                    <a:gd name="T32" fmla="*/ 2147483647 w 406"/>
                    <a:gd name="T33" fmla="*/ 2147483647 h 364"/>
                    <a:gd name="T34" fmla="*/ 2147483647 w 406"/>
                    <a:gd name="T35" fmla="*/ 2147483647 h 364"/>
                    <a:gd name="T36" fmla="*/ 2147483647 w 406"/>
                    <a:gd name="T37" fmla="*/ 2147483647 h 364"/>
                    <a:gd name="T38" fmla="*/ 2147483647 w 406"/>
                    <a:gd name="T39" fmla="*/ 2147483647 h 364"/>
                    <a:gd name="T40" fmla="*/ 2147483647 w 406"/>
                    <a:gd name="T41" fmla="*/ 2147483647 h 364"/>
                    <a:gd name="T42" fmla="*/ 2147483647 w 406"/>
                    <a:gd name="T43" fmla="*/ 2147483647 h 364"/>
                    <a:gd name="T44" fmla="*/ 2147483647 w 406"/>
                    <a:gd name="T45" fmla="*/ 2147483647 h 364"/>
                    <a:gd name="T46" fmla="*/ 2147483647 w 406"/>
                    <a:gd name="T47" fmla="*/ 2147483647 h 364"/>
                    <a:gd name="T48" fmla="*/ 2147483647 w 406"/>
                    <a:gd name="T49" fmla="*/ 2147483647 h 364"/>
                    <a:gd name="T50" fmla="*/ 2147483647 w 406"/>
                    <a:gd name="T51" fmla="*/ 2147483647 h 364"/>
                    <a:gd name="T52" fmla="*/ 2147483647 w 406"/>
                    <a:gd name="T53" fmla="*/ 2147483647 h 364"/>
                    <a:gd name="T54" fmla="*/ 2147483647 w 406"/>
                    <a:gd name="T55" fmla="*/ 2147483647 h 364"/>
                    <a:gd name="T56" fmla="*/ 2147483647 w 406"/>
                    <a:gd name="T57" fmla="*/ 2147483647 h 364"/>
                    <a:gd name="T58" fmla="*/ 2147483647 w 406"/>
                    <a:gd name="T59" fmla="*/ 2147483647 h 36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406"/>
                    <a:gd name="T91" fmla="*/ 0 h 364"/>
                    <a:gd name="T92" fmla="*/ 406 w 406"/>
                    <a:gd name="T93" fmla="*/ 364 h 36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406" h="364">
                      <a:moveTo>
                        <a:pt x="327" y="60"/>
                      </a:moveTo>
                      <a:lnTo>
                        <a:pt x="295" y="60"/>
                      </a:lnTo>
                      <a:lnTo>
                        <a:pt x="276" y="80"/>
                      </a:lnTo>
                      <a:lnTo>
                        <a:pt x="257" y="80"/>
                      </a:lnTo>
                      <a:lnTo>
                        <a:pt x="257" y="40"/>
                      </a:lnTo>
                      <a:lnTo>
                        <a:pt x="237" y="20"/>
                      </a:lnTo>
                      <a:lnTo>
                        <a:pt x="218" y="20"/>
                      </a:lnTo>
                      <a:lnTo>
                        <a:pt x="186" y="0"/>
                      </a:lnTo>
                      <a:lnTo>
                        <a:pt x="147" y="20"/>
                      </a:lnTo>
                      <a:lnTo>
                        <a:pt x="147" y="40"/>
                      </a:lnTo>
                      <a:lnTo>
                        <a:pt x="128" y="60"/>
                      </a:lnTo>
                      <a:lnTo>
                        <a:pt x="96" y="80"/>
                      </a:lnTo>
                      <a:lnTo>
                        <a:pt x="96" y="93"/>
                      </a:lnTo>
                      <a:lnTo>
                        <a:pt x="38" y="113"/>
                      </a:lnTo>
                      <a:lnTo>
                        <a:pt x="0" y="154"/>
                      </a:lnTo>
                      <a:lnTo>
                        <a:pt x="19" y="174"/>
                      </a:lnTo>
                      <a:lnTo>
                        <a:pt x="57" y="154"/>
                      </a:lnTo>
                      <a:lnTo>
                        <a:pt x="77" y="154"/>
                      </a:lnTo>
                      <a:lnTo>
                        <a:pt x="96" y="174"/>
                      </a:lnTo>
                      <a:lnTo>
                        <a:pt x="96" y="228"/>
                      </a:lnTo>
                      <a:lnTo>
                        <a:pt x="128" y="288"/>
                      </a:lnTo>
                      <a:lnTo>
                        <a:pt x="205" y="309"/>
                      </a:lnTo>
                      <a:lnTo>
                        <a:pt x="237" y="322"/>
                      </a:lnTo>
                      <a:lnTo>
                        <a:pt x="327" y="342"/>
                      </a:lnTo>
                      <a:lnTo>
                        <a:pt x="366" y="363"/>
                      </a:lnTo>
                      <a:lnTo>
                        <a:pt x="405" y="288"/>
                      </a:lnTo>
                      <a:lnTo>
                        <a:pt x="405" y="208"/>
                      </a:lnTo>
                      <a:lnTo>
                        <a:pt x="315" y="194"/>
                      </a:lnTo>
                      <a:lnTo>
                        <a:pt x="315" y="93"/>
                      </a:lnTo>
                      <a:lnTo>
                        <a:pt x="327" y="6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1" name="Freeform 24"/>
                <p:cNvSpPr>
                  <a:spLocks/>
                </p:cNvSpPr>
                <p:nvPr/>
              </p:nvSpPr>
              <p:spPr bwMode="blackWhite">
                <a:xfrm>
                  <a:off x="443922" y="2651433"/>
                  <a:ext cx="631053" cy="356730"/>
                </a:xfrm>
                <a:custGeom>
                  <a:avLst/>
                  <a:gdLst>
                    <a:gd name="T0" fmla="*/ 0 w 418"/>
                    <a:gd name="T1" fmla="*/ 0 h 229"/>
                    <a:gd name="T2" fmla="*/ 2147483647 w 418"/>
                    <a:gd name="T3" fmla="*/ 2147483647 h 229"/>
                    <a:gd name="T4" fmla="*/ 2147483647 w 418"/>
                    <a:gd name="T5" fmla="*/ 2147483647 h 229"/>
                    <a:gd name="T6" fmla="*/ 2147483647 w 418"/>
                    <a:gd name="T7" fmla="*/ 2147483647 h 229"/>
                    <a:gd name="T8" fmla="*/ 2147483647 w 418"/>
                    <a:gd name="T9" fmla="*/ 2147483647 h 229"/>
                    <a:gd name="T10" fmla="*/ 2147483647 w 418"/>
                    <a:gd name="T11" fmla="*/ 2147483647 h 229"/>
                    <a:gd name="T12" fmla="*/ 2147483647 w 418"/>
                    <a:gd name="T13" fmla="*/ 2147483647 h 229"/>
                    <a:gd name="T14" fmla="*/ 2147483647 w 418"/>
                    <a:gd name="T15" fmla="*/ 2147483647 h 229"/>
                    <a:gd name="T16" fmla="*/ 2147483647 w 418"/>
                    <a:gd name="T17" fmla="*/ 2147483647 h 229"/>
                    <a:gd name="T18" fmla="*/ 2147483647 w 418"/>
                    <a:gd name="T19" fmla="*/ 2147483647 h 229"/>
                    <a:gd name="T20" fmla="*/ 2147483647 w 418"/>
                    <a:gd name="T21" fmla="*/ 2147483647 h 229"/>
                    <a:gd name="T22" fmla="*/ 2147483647 w 418"/>
                    <a:gd name="T23" fmla="*/ 2147483647 h 229"/>
                    <a:gd name="T24" fmla="*/ 2147483647 w 418"/>
                    <a:gd name="T25" fmla="*/ 2147483647 h 229"/>
                    <a:gd name="T26" fmla="*/ 2147483647 w 418"/>
                    <a:gd name="T27" fmla="*/ 2147483647 h 229"/>
                    <a:gd name="T28" fmla="*/ 2147483647 w 418"/>
                    <a:gd name="T29" fmla="*/ 2147483647 h 229"/>
                    <a:gd name="T30" fmla="*/ 2147483647 w 418"/>
                    <a:gd name="T31" fmla="*/ 2147483647 h 229"/>
                    <a:gd name="T32" fmla="*/ 2147483647 w 418"/>
                    <a:gd name="T33" fmla="*/ 2147483647 h 229"/>
                    <a:gd name="T34" fmla="*/ 2147483647 w 418"/>
                    <a:gd name="T35" fmla="*/ 2147483647 h 229"/>
                    <a:gd name="T36" fmla="*/ 2147483647 w 418"/>
                    <a:gd name="T37" fmla="*/ 2147483647 h 229"/>
                    <a:gd name="T38" fmla="*/ 2147483647 w 418"/>
                    <a:gd name="T39" fmla="*/ 2147483647 h 229"/>
                    <a:gd name="T40" fmla="*/ 0 w 418"/>
                    <a:gd name="T41" fmla="*/ 2147483647 h 229"/>
                    <a:gd name="T42" fmla="*/ 0 w 418"/>
                    <a:gd name="T43" fmla="*/ 0 h 22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18"/>
                    <a:gd name="T67" fmla="*/ 0 h 229"/>
                    <a:gd name="T68" fmla="*/ 418 w 418"/>
                    <a:gd name="T69" fmla="*/ 229 h 22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18" h="229">
                      <a:moveTo>
                        <a:pt x="0" y="0"/>
                      </a:moveTo>
                      <a:lnTo>
                        <a:pt x="38" y="20"/>
                      </a:lnTo>
                      <a:lnTo>
                        <a:pt x="89" y="40"/>
                      </a:lnTo>
                      <a:lnTo>
                        <a:pt x="147" y="40"/>
                      </a:lnTo>
                      <a:lnTo>
                        <a:pt x="199" y="60"/>
                      </a:lnTo>
                      <a:lnTo>
                        <a:pt x="275" y="93"/>
                      </a:lnTo>
                      <a:lnTo>
                        <a:pt x="327" y="133"/>
                      </a:lnTo>
                      <a:lnTo>
                        <a:pt x="397" y="153"/>
                      </a:lnTo>
                      <a:lnTo>
                        <a:pt x="417" y="174"/>
                      </a:lnTo>
                      <a:lnTo>
                        <a:pt x="365" y="207"/>
                      </a:lnTo>
                      <a:lnTo>
                        <a:pt x="288" y="228"/>
                      </a:lnTo>
                      <a:lnTo>
                        <a:pt x="199" y="228"/>
                      </a:lnTo>
                      <a:lnTo>
                        <a:pt x="179" y="207"/>
                      </a:lnTo>
                      <a:lnTo>
                        <a:pt x="179" y="153"/>
                      </a:lnTo>
                      <a:lnTo>
                        <a:pt x="147" y="194"/>
                      </a:lnTo>
                      <a:lnTo>
                        <a:pt x="109" y="194"/>
                      </a:lnTo>
                      <a:lnTo>
                        <a:pt x="89" y="174"/>
                      </a:lnTo>
                      <a:lnTo>
                        <a:pt x="70" y="174"/>
                      </a:lnTo>
                      <a:lnTo>
                        <a:pt x="57" y="133"/>
                      </a:lnTo>
                      <a:lnTo>
                        <a:pt x="19" y="93"/>
                      </a:lnTo>
                      <a:lnTo>
                        <a:pt x="0" y="6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2" name="Freeform 25"/>
                <p:cNvSpPr>
                  <a:spLocks/>
                </p:cNvSpPr>
                <p:nvPr/>
              </p:nvSpPr>
              <p:spPr bwMode="blackWhite">
                <a:xfrm>
                  <a:off x="1626875" y="1631121"/>
                  <a:ext cx="1158015" cy="1176448"/>
                </a:xfrm>
                <a:custGeom>
                  <a:avLst/>
                  <a:gdLst>
                    <a:gd name="T0" fmla="*/ 0 w 765"/>
                    <a:gd name="T1" fmla="*/ 2147483647 h 762"/>
                    <a:gd name="T2" fmla="*/ 2147483647 w 765"/>
                    <a:gd name="T3" fmla="*/ 2147483647 h 762"/>
                    <a:gd name="T4" fmla="*/ 2147483647 w 765"/>
                    <a:gd name="T5" fmla="*/ 2147483647 h 762"/>
                    <a:gd name="T6" fmla="*/ 2147483647 w 765"/>
                    <a:gd name="T7" fmla="*/ 2147483647 h 762"/>
                    <a:gd name="T8" fmla="*/ 2147483647 w 765"/>
                    <a:gd name="T9" fmla="*/ 2147483647 h 762"/>
                    <a:gd name="T10" fmla="*/ 2147483647 w 765"/>
                    <a:gd name="T11" fmla="*/ 2147483647 h 762"/>
                    <a:gd name="T12" fmla="*/ 2147483647 w 765"/>
                    <a:gd name="T13" fmla="*/ 2147483647 h 762"/>
                    <a:gd name="T14" fmla="*/ 2147483647 w 765"/>
                    <a:gd name="T15" fmla="*/ 2147483647 h 762"/>
                    <a:gd name="T16" fmla="*/ 2147483647 w 765"/>
                    <a:gd name="T17" fmla="*/ 2147483647 h 762"/>
                    <a:gd name="T18" fmla="*/ 2147483647 w 765"/>
                    <a:gd name="T19" fmla="*/ 2147483647 h 762"/>
                    <a:gd name="T20" fmla="*/ 2147483647 w 765"/>
                    <a:gd name="T21" fmla="*/ 2147483647 h 762"/>
                    <a:gd name="T22" fmla="*/ 2147483647 w 765"/>
                    <a:gd name="T23" fmla="*/ 2147483647 h 762"/>
                    <a:gd name="T24" fmla="*/ 2147483647 w 765"/>
                    <a:gd name="T25" fmla="*/ 2147483647 h 762"/>
                    <a:gd name="T26" fmla="*/ 2147483647 w 765"/>
                    <a:gd name="T27" fmla="*/ 2147483647 h 762"/>
                    <a:gd name="T28" fmla="*/ 2147483647 w 765"/>
                    <a:gd name="T29" fmla="*/ 2147483647 h 762"/>
                    <a:gd name="T30" fmla="*/ 2147483647 w 765"/>
                    <a:gd name="T31" fmla="*/ 2147483647 h 762"/>
                    <a:gd name="T32" fmla="*/ 2147483647 w 765"/>
                    <a:gd name="T33" fmla="*/ 2147483647 h 762"/>
                    <a:gd name="T34" fmla="*/ 2147483647 w 765"/>
                    <a:gd name="T35" fmla="*/ 2147483647 h 762"/>
                    <a:gd name="T36" fmla="*/ 2147483647 w 765"/>
                    <a:gd name="T37" fmla="*/ 2147483647 h 762"/>
                    <a:gd name="T38" fmla="*/ 2147483647 w 765"/>
                    <a:gd name="T39" fmla="*/ 2147483647 h 762"/>
                    <a:gd name="T40" fmla="*/ 2147483647 w 765"/>
                    <a:gd name="T41" fmla="*/ 2147483647 h 762"/>
                    <a:gd name="T42" fmla="*/ 2147483647 w 765"/>
                    <a:gd name="T43" fmla="*/ 2147483647 h 762"/>
                    <a:gd name="T44" fmla="*/ 2147483647 w 765"/>
                    <a:gd name="T45" fmla="*/ 2147483647 h 762"/>
                    <a:gd name="T46" fmla="*/ 2147483647 w 765"/>
                    <a:gd name="T47" fmla="*/ 2147483647 h 762"/>
                    <a:gd name="T48" fmla="*/ 2147483647 w 765"/>
                    <a:gd name="T49" fmla="*/ 2147483647 h 762"/>
                    <a:gd name="T50" fmla="*/ 2147483647 w 765"/>
                    <a:gd name="T51" fmla="*/ 2147483647 h 762"/>
                    <a:gd name="T52" fmla="*/ 2147483647 w 765"/>
                    <a:gd name="T53" fmla="*/ 2147483647 h 762"/>
                    <a:gd name="T54" fmla="*/ 2147483647 w 765"/>
                    <a:gd name="T55" fmla="*/ 2147483647 h 762"/>
                    <a:gd name="T56" fmla="*/ 2147483647 w 765"/>
                    <a:gd name="T57" fmla="*/ 2147483647 h 762"/>
                    <a:gd name="T58" fmla="*/ 2147483647 w 765"/>
                    <a:gd name="T59" fmla="*/ 2147483647 h 762"/>
                    <a:gd name="T60" fmla="*/ 2147483647 w 765"/>
                    <a:gd name="T61" fmla="*/ 2147483647 h 762"/>
                    <a:gd name="T62" fmla="*/ 2147483647 w 765"/>
                    <a:gd name="T63" fmla="*/ 2147483647 h 762"/>
                    <a:gd name="T64" fmla="*/ 2147483647 w 765"/>
                    <a:gd name="T65" fmla="*/ 2147483647 h 762"/>
                    <a:gd name="T66" fmla="*/ 2147483647 w 765"/>
                    <a:gd name="T67" fmla="*/ 2147483647 h 762"/>
                    <a:gd name="T68" fmla="*/ 2147483647 w 765"/>
                    <a:gd name="T69" fmla="*/ 2147483647 h 762"/>
                    <a:gd name="T70" fmla="*/ 2147483647 w 765"/>
                    <a:gd name="T71" fmla="*/ 2147483647 h 762"/>
                    <a:gd name="T72" fmla="*/ 2147483647 w 765"/>
                    <a:gd name="T73" fmla="*/ 2147483647 h 762"/>
                    <a:gd name="T74" fmla="*/ 2147483647 w 765"/>
                    <a:gd name="T75" fmla="*/ 2147483647 h 762"/>
                    <a:gd name="T76" fmla="*/ 2147483647 w 765"/>
                    <a:gd name="T77" fmla="*/ 2147483647 h 762"/>
                    <a:gd name="T78" fmla="*/ 2147483647 w 765"/>
                    <a:gd name="T79" fmla="*/ 2147483647 h 762"/>
                    <a:gd name="T80" fmla="*/ 2147483647 w 765"/>
                    <a:gd name="T81" fmla="*/ 2147483647 h 762"/>
                    <a:gd name="T82" fmla="*/ 2147483647 w 765"/>
                    <a:gd name="T83" fmla="*/ 2147483647 h 762"/>
                    <a:gd name="T84" fmla="*/ 2147483647 w 765"/>
                    <a:gd name="T85" fmla="*/ 2147483647 h 762"/>
                    <a:gd name="T86" fmla="*/ 2147483647 w 765"/>
                    <a:gd name="T87" fmla="*/ 2147483647 h 762"/>
                    <a:gd name="T88" fmla="*/ 2147483647 w 765"/>
                    <a:gd name="T89" fmla="*/ 2147483647 h 762"/>
                    <a:gd name="T90" fmla="*/ 2147483647 w 765"/>
                    <a:gd name="T91" fmla="*/ 0 h 762"/>
                    <a:gd name="T92" fmla="*/ 2147483647 w 765"/>
                    <a:gd name="T93" fmla="*/ 0 h 762"/>
                    <a:gd name="T94" fmla="*/ 2147483647 w 765"/>
                    <a:gd name="T95" fmla="*/ 2147483647 h 762"/>
                    <a:gd name="T96" fmla="*/ 2147483647 w 765"/>
                    <a:gd name="T97" fmla="*/ 2147483647 h 762"/>
                    <a:gd name="T98" fmla="*/ 2147483647 w 765"/>
                    <a:gd name="T99" fmla="*/ 2147483647 h 762"/>
                    <a:gd name="T100" fmla="*/ 2147483647 w 765"/>
                    <a:gd name="T101" fmla="*/ 2147483647 h 762"/>
                    <a:gd name="T102" fmla="*/ 2147483647 w 765"/>
                    <a:gd name="T103" fmla="*/ 2147483647 h 762"/>
                    <a:gd name="T104" fmla="*/ 2147483647 w 765"/>
                    <a:gd name="T105" fmla="*/ 2147483647 h 762"/>
                    <a:gd name="T106" fmla="*/ 0 w 765"/>
                    <a:gd name="T107" fmla="*/ 2147483647 h 76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765"/>
                    <a:gd name="T163" fmla="*/ 0 h 762"/>
                    <a:gd name="T164" fmla="*/ 765 w 765"/>
                    <a:gd name="T165" fmla="*/ 762 h 76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765" h="762">
                      <a:moveTo>
                        <a:pt x="0" y="74"/>
                      </a:moveTo>
                      <a:lnTo>
                        <a:pt x="19" y="134"/>
                      </a:lnTo>
                      <a:lnTo>
                        <a:pt x="19" y="175"/>
                      </a:lnTo>
                      <a:lnTo>
                        <a:pt x="51" y="249"/>
                      </a:lnTo>
                      <a:lnTo>
                        <a:pt x="70" y="269"/>
                      </a:lnTo>
                      <a:lnTo>
                        <a:pt x="109" y="269"/>
                      </a:lnTo>
                      <a:lnTo>
                        <a:pt x="147" y="290"/>
                      </a:lnTo>
                      <a:lnTo>
                        <a:pt x="147" y="323"/>
                      </a:lnTo>
                      <a:lnTo>
                        <a:pt x="159" y="343"/>
                      </a:lnTo>
                      <a:lnTo>
                        <a:pt x="89" y="552"/>
                      </a:lnTo>
                      <a:lnTo>
                        <a:pt x="89" y="613"/>
                      </a:lnTo>
                      <a:lnTo>
                        <a:pt x="128" y="667"/>
                      </a:lnTo>
                      <a:lnTo>
                        <a:pt x="147" y="707"/>
                      </a:lnTo>
                      <a:lnTo>
                        <a:pt x="159" y="728"/>
                      </a:lnTo>
                      <a:lnTo>
                        <a:pt x="198" y="747"/>
                      </a:lnTo>
                      <a:lnTo>
                        <a:pt x="526" y="761"/>
                      </a:lnTo>
                      <a:lnTo>
                        <a:pt x="564" y="707"/>
                      </a:lnTo>
                      <a:lnTo>
                        <a:pt x="584" y="667"/>
                      </a:lnTo>
                      <a:lnTo>
                        <a:pt x="584" y="613"/>
                      </a:lnTo>
                      <a:lnTo>
                        <a:pt x="596" y="572"/>
                      </a:lnTo>
                      <a:lnTo>
                        <a:pt x="654" y="518"/>
                      </a:lnTo>
                      <a:lnTo>
                        <a:pt x="654" y="498"/>
                      </a:lnTo>
                      <a:lnTo>
                        <a:pt x="635" y="478"/>
                      </a:lnTo>
                      <a:lnTo>
                        <a:pt x="654" y="458"/>
                      </a:lnTo>
                      <a:lnTo>
                        <a:pt x="693" y="437"/>
                      </a:lnTo>
                      <a:lnTo>
                        <a:pt x="725" y="404"/>
                      </a:lnTo>
                      <a:lnTo>
                        <a:pt x="744" y="343"/>
                      </a:lnTo>
                      <a:lnTo>
                        <a:pt x="764" y="269"/>
                      </a:lnTo>
                      <a:lnTo>
                        <a:pt x="764" y="209"/>
                      </a:lnTo>
                      <a:lnTo>
                        <a:pt x="744" y="188"/>
                      </a:lnTo>
                      <a:lnTo>
                        <a:pt x="674" y="175"/>
                      </a:lnTo>
                      <a:lnTo>
                        <a:pt x="654" y="209"/>
                      </a:lnTo>
                      <a:lnTo>
                        <a:pt x="616" y="249"/>
                      </a:lnTo>
                      <a:lnTo>
                        <a:pt x="596" y="290"/>
                      </a:lnTo>
                      <a:lnTo>
                        <a:pt x="584" y="343"/>
                      </a:lnTo>
                      <a:lnTo>
                        <a:pt x="584" y="290"/>
                      </a:lnTo>
                      <a:lnTo>
                        <a:pt x="506" y="269"/>
                      </a:lnTo>
                      <a:lnTo>
                        <a:pt x="474" y="229"/>
                      </a:lnTo>
                      <a:lnTo>
                        <a:pt x="436" y="229"/>
                      </a:lnTo>
                      <a:lnTo>
                        <a:pt x="397" y="188"/>
                      </a:lnTo>
                      <a:lnTo>
                        <a:pt x="378" y="134"/>
                      </a:lnTo>
                      <a:lnTo>
                        <a:pt x="346" y="74"/>
                      </a:lnTo>
                      <a:lnTo>
                        <a:pt x="307" y="60"/>
                      </a:lnTo>
                      <a:lnTo>
                        <a:pt x="288" y="60"/>
                      </a:lnTo>
                      <a:lnTo>
                        <a:pt x="256" y="40"/>
                      </a:lnTo>
                      <a:lnTo>
                        <a:pt x="256" y="0"/>
                      </a:lnTo>
                      <a:lnTo>
                        <a:pt x="198" y="0"/>
                      </a:lnTo>
                      <a:lnTo>
                        <a:pt x="179" y="20"/>
                      </a:lnTo>
                      <a:lnTo>
                        <a:pt x="198" y="20"/>
                      </a:lnTo>
                      <a:lnTo>
                        <a:pt x="179" y="40"/>
                      </a:lnTo>
                      <a:lnTo>
                        <a:pt x="128" y="40"/>
                      </a:lnTo>
                      <a:lnTo>
                        <a:pt x="70" y="60"/>
                      </a:lnTo>
                      <a:lnTo>
                        <a:pt x="19" y="74"/>
                      </a:lnTo>
                      <a:lnTo>
                        <a:pt x="0" y="7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3" name="Freeform 26"/>
                <p:cNvSpPr>
                  <a:spLocks/>
                </p:cNvSpPr>
                <p:nvPr/>
              </p:nvSpPr>
              <p:spPr bwMode="blackWhite">
                <a:xfrm>
                  <a:off x="1987941" y="1490165"/>
                  <a:ext cx="439135" cy="502024"/>
                </a:xfrm>
                <a:custGeom>
                  <a:avLst/>
                  <a:gdLst>
                    <a:gd name="T0" fmla="*/ 2147483647 w 291"/>
                    <a:gd name="T1" fmla="*/ 2147483647 h 325"/>
                    <a:gd name="T2" fmla="*/ 2147483647 w 291"/>
                    <a:gd name="T3" fmla="*/ 2147483647 h 325"/>
                    <a:gd name="T4" fmla="*/ 2147483647 w 291"/>
                    <a:gd name="T5" fmla="*/ 2147483647 h 325"/>
                    <a:gd name="T6" fmla="*/ 2147483647 w 291"/>
                    <a:gd name="T7" fmla="*/ 2147483647 h 325"/>
                    <a:gd name="T8" fmla="*/ 2147483647 w 291"/>
                    <a:gd name="T9" fmla="*/ 2147483647 h 325"/>
                    <a:gd name="T10" fmla="*/ 2147483647 w 291"/>
                    <a:gd name="T11" fmla="*/ 2147483647 h 325"/>
                    <a:gd name="T12" fmla="*/ 2147483647 w 291"/>
                    <a:gd name="T13" fmla="*/ 2147483647 h 325"/>
                    <a:gd name="T14" fmla="*/ 0 w 291"/>
                    <a:gd name="T15" fmla="*/ 2147483647 h 325"/>
                    <a:gd name="T16" fmla="*/ 0 w 291"/>
                    <a:gd name="T17" fmla="*/ 2147483647 h 325"/>
                    <a:gd name="T18" fmla="*/ 2147483647 w 291"/>
                    <a:gd name="T19" fmla="*/ 2147483647 h 325"/>
                    <a:gd name="T20" fmla="*/ 2147483647 w 291"/>
                    <a:gd name="T21" fmla="*/ 2147483647 h 325"/>
                    <a:gd name="T22" fmla="*/ 2147483647 w 291"/>
                    <a:gd name="T23" fmla="*/ 2147483647 h 325"/>
                    <a:gd name="T24" fmla="*/ 2147483647 w 291"/>
                    <a:gd name="T25" fmla="*/ 2147483647 h 325"/>
                    <a:gd name="T26" fmla="*/ 2147483647 w 291"/>
                    <a:gd name="T27" fmla="*/ 0 h 325"/>
                    <a:gd name="T28" fmla="*/ 2147483647 w 291"/>
                    <a:gd name="T29" fmla="*/ 0 h 325"/>
                    <a:gd name="T30" fmla="*/ 2147483647 w 291"/>
                    <a:gd name="T31" fmla="*/ 2147483647 h 325"/>
                    <a:gd name="T32" fmla="*/ 2147483647 w 291"/>
                    <a:gd name="T33" fmla="*/ 2147483647 h 325"/>
                    <a:gd name="T34" fmla="*/ 2147483647 w 291"/>
                    <a:gd name="T35" fmla="*/ 2147483647 h 325"/>
                    <a:gd name="T36" fmla="*/ 2147483647 w 291"/>
                    <a:gd name="T37" fmla="*/ 2147483647 h 325"/>
                    <a:gd name="T38" fmla="*/ 2147483647 w 291"/>
                    <a:gd name="T39" fmla="*/ 2147483647 h 325"/>
                    <a:gd name="T40" fmla="*/ 2147483647 w 291"/>
                    <a:gd name="T41" fmla="*/ 2147483647 h 325"/>
                    <a:gd name="T42" fmla="*/ 2147483647 w 291"/>
                    <a:gd name="T43" fmla="*/ 2147483647 h 325"/>
                    <a:gd name="T44" fmla="*/ 2147483647 w 291"/>
                    <a:gd name="T45" fmla="*/ 2147483647 h 325"/>
                    <a:gd name="T46" fmla="*/ 2147483647 w 291"/>
                    <a:gd name="T47" fmla="*/ 2147483647 h 32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91"/>
                    <a:gd name="T73" fmla="*/ 0 h 325"/>
                    <a:gd name="T74" fmla="*/ 291 w 291"/>
                    <a:gd name="T75" fmla="*/ 325 h 32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91" h="325">
                      <a:moveTo>
                        <a:pt x="219" y="324"/>
                      </a:moveTo>
                      <a:lnTo>
                        <a:pt x="180" y="324"/>
                      </a:lnTo>
                      <a:lnTo>
                        <a:pt x="141" y="283"/>
                      </a:lnTo>
                      <a:lnTo>
                        <a:pt x="122" y="229"/>
                      </a:lnTo>
                      <a:lnTo>
                        <a:pt x="90" y="168"/>
                      </a:lnTo>
                      <a:lnTo>
                        <a:pt x="51" y="155"/>
                      </a:lnTo>
                      <a:lnTo>
                        <a:pt x="32" y="155"/>
                      </a:lnTo>
                      <a:lnTo>
                        <a:pt x="0" y="135"/>
                      </a:lnTo>
                      <a:lnTo>
                        <a:pt x="0" y="94"/>
                      </a:lnTo>
                      <a:lnTo>
                        <a:pt x="51" y="114"/>
                      </a:lnTo>
                      <a:lnTo>
                        <a:pt x="109" y="114"/>
                      </a:lnTo>
                      <a:lnTo>
                        <a:pt x="161" y="74"/>
                      </a:lnTo>
                      <a:lnTo>
                        <a:pt x="199" y="20"/>
                      </a:lnTo>
                      <a:lnTo>
                        <a:pt x="219" y="0"/>
                      </a:lnTo>
                      <a:lnTo>
                        <a:pt x="232" y="0"/>
                      </a:lnTo>
                      <a:lnTo>
                        <a:pt x="232" y="54"/>
                      </a:lnTo>
                      <a:lnTo>
                        <a:pt x="251" y="114"/>
                      </a:lnTo>
                      <a:lnTo>
                        <a:pt x="270" y="155"/>
                      </a:lnTo>
                      <a:lnTo>
                        <a:pt x="290" y="168"/>
                      </a:lnTo>
                      <a:lnTo>
                        <a:pt x="290" y="189"/>
                      </a:lnTo>
                      <a:lnTo>
                        <a:pt x="270" y="209"/>
                      </a:lnTo>
                      <a:lnTo>
                        <a:pt x="232" y="249"/>
                      </a:lnTo>
                      <a:lnTo>
                        <a:pt x="219" y="303"/>
                      </a:lnTo>
                      <a:lnTo>
                        <a:pt x="219" y="324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4" name="Freeform 28"/>
                <p:cNvSpPr>
                  <a:spLocks/>
                </p:cNvSpPr>
                <p:nvPr/>
              </p:nvSpPr>
              <p:spPr bwMode="blackWhite">
                <a:xfrm>
                  <a:off x="430910" y="1679914"/>
                  <a:ext cx="1459446" cy="1213314"/>
                </a:xfrm>
                <a:custGeom>
                  <a:avLst/>
                  <a:gdLst>
                    <a:gd name="T0" fmla="*/ 2147483647 w 964"/>
                    <a:gd name="T1" fmla="*/ 2147483647 h 783"/>
                    <a:gd name="T2" fmla="*/ 2147483647 w 964"/>
                    <a:gd name="T3" fmla="*/ 2147483647 h 783"/>
                    <a:gd name="T4" fmla="*/ 2147483647 w 964"/>
                    <a:gd name="T5" fmla="*/ 2147483647 h 783"/>
                    <a:gd name="T6" fmla="*/ 2147483647 w 964"/>
                    <a:gd name="T7" fmla="*/ 2147483647 h 783"/>
                    <a:gd name="T8" fmla="*/ 2147483647 w 964"/>
                    <a:gd name="T9" fmla="*/ 2147483647 h 783"/>
                    <a:gd name="T10" fmla="*/ 2147483647 w 964"/>
                    <a:gd name="T11" fmla="*/ 2147483647 h 783"/>
                    <a:gd name="T12" fmla="*/ 2147483647 w 964"/>
                    <a:gd name="T13" fmla="*/ 2147483647 h 783"/>
                    <a:gd name="T14" fmla="*/ 2147483647 w 964"/>
                    <a:gd name="T15" fmla="*/ 2147483647 h 783"/>
                    <a:gd name="T16" fmla="*/ 2147483647 w 964"/>
                    <a:gd name="T17" fmla="*/ 2147483647 h 783"/>
                    <a:gd name="T18" fmla="*/ 2147483647 w 964"/>
                    <a:gd name="T19" fmla="*/ 2147483647 h 783"/>
                    <a:gd name="T20" fmla="*/ 2147483647 w 964"/>
                    <a:gd name="T21" fmla="*/ 2147483647 h 783"/>
                    <a:gd name="T22" fmla="*/ 2147483647 w 964"/>
                    <a:gd name="T23" fmla="*/ 2147483647 h 783"/>
                    <a:gd name="T24" fmla="*/ 2147483647 w 964"/>
                    <a:gd name="T25" fmla="*/ 2147483647 h 783"/>
                    <a:gd name="T26" fmla="*/ 2147483647 w 964"/>
                    <a:gd name="T27" fmla="*/ 2147483647 h 783"/>
                    <a:gd name="T28" fmla="*/ 2147483647 w 964"/>
                    <a:gd name="T29" fmla="*/ 2147483647 h 783"/>
                    <a:gd name="T30" fmla="*/ 2147483647 w 964"/>
                    <a:gd name="T31" fmla="*/ 2147483647 h 783"/>
                    <a:gd name="T32" fmla="*/ 2147483647 w 964"/>
                    <a:gd name="T33" fmla="*/ 2147483647 h 783"/>
                    <a:gd name="T34" fmla="*/ 2147483647 w 964"/>
                    <a:gd name="T35" fmla="*/ 2147483647 h 783"/>
                    <a:gd name="T36" fmla="*/ 2147483647 w 964"/>
                    <a:gd name="T37" fmla="*/ 2147483647 h 783"/>
                    <a:gd name="T38" fmla="*/ 2147483647 w 964"/>
                    <a:gd name="T39" fmla="*/ 2147483647 h 783"/>
                    <a:gd name="T40" fmla="*/ 2147483647 w 964"/>
                    <a:gd name="T41" fmla="*/ 2147483647 h 783"/>
                    <a:gd name="T42" fmla="*/ 2147483647 w 964"/>
                    <a:gd name="T43" fmla="*/ 2147483647 h 783"/>
                    <a:gd name="T44" fmla="*/ 2147483647 w 964"/>
                    <a:gd name="T45" fmla="*/ 2147483647 h 783"/>
                    <a:gd name="T46" fmla="*/ 0 w 964"/>
                    <a:gd name="T47" fmla="*/ 2147483647 h 783"/>
                    <a:gd name="T48" fmla="*/ 2147483647 w 964"/>
                    <a:gd name="T49" fmla="*/ 2147483647 h 783"/>
                    <a:gd name="T50" fmla="*/ 2147483647 w 964"/>
                    <a:gd name="T51" fmla="*/ 2147483647 h 783"/>
                    <a:gd name="T52" fmla="*/ 2147483647 w 964"/>
                    <a:gd name="T53" fmla="*/ 2147483647 h 783"/>
                    <a:gd name="T54" fmla="*/ 2147483647 w 964"/>
                    <a:gd name="T55" fmla="*/ 2147483647 h 783"/>
                    <a:gd name="T56" fmla="*/ 2147483647 w 964"/>
                    <a:gd name="T57" fmla="*/ 2147483647 h 783"/>
                    <a:gd name="T58" fmla="*/ 2147483647 w 964"/>
                    <a:gd name="T59" fmla="*/ 2147483647 h 783"/>
                    <a:gd name="T60" fmla="*/ 2147483647 w 964"/>
                    <a:gd name="T61" fmla="*/ 2147483647 h 783"/>
                    <a:gd name="T62" fmla="*/ 2147483647 w 964"/>
                    <a:gd name="T63" fmla="*/ 2147483647 h 783"/>
                    <a:gd name="T64" fmla="*/ 2147483647 w 964"/>
                    <a:gd name="T65" fmla="*/ 2147483647 h 783"/>
                    <a:gd name="T66" fmla="*/ 2147483647 w 964"/>
                    <a:gd name="T67" fmla="*/ 2147483647 h 783"/>
                    <a:gd name="T68" fmla="*/ 2147483647 w 964"/>
                    <a:gd name="T69" fmla="*/ 2147483647 h 783"/>
                    <a:gd name="T70" fmla="*/ 2147483647 w 964"/>
                    <a:gd name="T71" fmla="*/ 2147483647 h 78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64"/>
                    <a:gd name="T109" fmla="*/ 0 h 783"/>
                    <a:gd name="T110" fmla="*/ 964 w 964"/>
                    <a:gd name="T111" fmla="*/ 783 h 78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64" h="783">
                      <a:moveTo>
                        <a:pt x="584" y="0"/>
                      </a:moveTo>
                      <a:lnTo>
                        <a:pt x="603" y="20"/>
                      </a:lnTo>
                      <a:lnTo>
                        <a:pt x="603" y="54"/>
                      </a:lnTo>
                      <a:lnTo>
                        <a:pt x="616" y="94"/>
                      </a:lnTo>
                      <a:lnTo>
                        <a:pt x="616" y="148"/>
                      </a:lnTo>
                      <a:lnTo>
                        <a:pt x="603" y="168"/>
                      </a:lnTo>
                      <a:lnTo>
                        <a:pt x="616" y="189"/>
                      </a:lnTo>
                      <a:lnTo>
                        <a:pt x="655" y="209"/>
                      </a:lnTo>
                      <a:lnTo>
                        <a:pt x="674" y="168"/>
                      </a:lnTo>
                      <a:lnTo>
                        <a:pt x="693" y="168"/>
                      </a:lnTo>
                      <a:lnTo>
                        <a:pt x="713" y="189"/>
                      </a:lnTo>
                      <a:lnTo>
                        <a:pt x="725" y="189"/>
                      </a:lnTo>
                      <a:lnTo>
                        <a:pt x="745" y="168"/>
                      </a:lnTo>
                      <a:lnTo>
                        <a:pt x="745" y="148"/>
                      </a:lnTo>
                      <a:lnTo>
                        <a:pt x="764" y="135"/>
                      </a:lnTo>
                      <a:lnTo>
                        <a:pt x="822" y="135"/>
                      </a:lnTo>
                      <a:lnTo>
                        <a:pt x="854" y="209"/>
                      </a:lnTo>
                      <a:lnTo>
                        <a:pt x="873" y="229"/>
                      </a:lnTo>
                      <a:lnTo>
                        <a:pt x="912" y="229"/>
                      </a:lnTo>
                      <a:lnTo>
                        <a:pt x="950" y="249"/>
                      </a:lnTo>
                      <a:lnTo>
                        <a:pt x="950" y="282"/>
                      </a:lnTo>
                      <a:lnTo>
                        <a:pt x="963" y="303"/>
                      </a:lnTo>
                      <a:lnTo>
                        <a:pt x="893" y="512"/>
                      </a:lnTo>
                      <a:lnTo>
                        <a:pt x="893" y="607"/>
                      </a:lnTo>
                      <a:lnTo>
                        <a:pt x="873" y="647"/>
                      </a:lnTo>
                      <a:lnTo>
                        <a:pt x="873" y="688"/>
                      </a:lnTo>
                      <a:lnTo>
                        <a:pt x="725" y="688"/>
                      </a:lnTo>
                      <a:lnTo>
                        <a:pt x="693" y="688"/>
                      </a:lnTo>
                      <a:lnTo>
                        <a:pt x="674" y="707"/>
                      </a:lnTo>
                      <a:lnTo>
                        <a:pt x="655" y="707"/>
                      </a:lnTo>
                      <a:lnTo>
                        <a:pt x="655" y="667"/>
                      </a:lnTo>
                      <a:lnTo>
                        <a:pt x="635" y="647"/>
                      </a:lnTo>
                      <a:lnTo>
                        <a:pt x="616" y="647"/>
                      </a:lnTo>
                      <a:lnTo>
                        <a:pt x="584" y="627"/>
                      </a:lnTo>
                      <a:lnTo>
                        <a:pt x="545" y="647"/>
                      </a:lnTo>
                      <a:lnTo>
                        <a:pt x="545" y="667"/>
                      </a:lnTo>
                      <a:lnTo>
                        <a:pt x="526" y="688"/>
                      </a:lnTo>
                      <a:lnTo>
                        <a:pt x="494" y="707"/>
                      </a:lnTo>
                      <a:lnTo>
                        <a:pt x="494" y="721"/>
                      </a:lnTo>
                      <a:lnTo>
                        <a:pt x="436" y="741"/>
                      </a:lnTo>
                      <a:lnTo>
                        <a:pt x="397" y="782"/>
                      </a:lnTo>
                      <a:lnTo>
                        <a:pt x="327" y="761"/>
                      </a:lnTo>
                      <a:lnTo>
                        <a:pt x="275" y="721"/>
                      </a:lnTo>
                      <a:lnTo>
                        <a:pt x="199" y="688"/>
                      </a:lnTo>
                      <a:lnTo>
                        <a:pt x="147" y="667"/>
                      </a:lnTo>
                      <a:lnTo>
                        <a:pt x="90" y="667"/>
                      </a:lnTo>
                      <a:lnTo>
                        <a:pt x="38" y="647"/>
                      </a:lnTo>
                      <a:lnTo>
                        <a:pt x="0" y="627"/>
                      </a:lnTo>
                      <a:lnTo>
                        <a:pt x="19" y="593"/>
                      </a:lnTo>
                      <a:lnTo>
                        <a:pt x="38" y="573"/>
                      </a:lnTo>
                      <a:lnTo>
                        <a:pt x="38" y="553"/>
                      </a:lnTo>
                      <a:lnTo>
                        <a:pt x="57" y="512"/>
                      </a:lnTo>
                      <a:lnTo>
                        <a:pt x="90" y="478"/>
                      </a:lnTo>
                      <a:lnTo>
                        <a:pt x="180" y="438"/>
                      </a:lnTo>
                      <a:lnTo>
                        <a:pt x="199" y="438"/>
                      </a:lnTo>
                      <a:lnTo>
                        <a:pt x="217" y="363"/>
                      </a:lnTo>
                      <a:lnTo>
                        <a:pt x="237" y="249"/>
                      </a:lnTo>
                      <a:lnTo>
                        <a:pt x="199" y="209"/>
                      </a:lnTo>
                      <a:lnTo>
                        <a:pt x="180" y="135"/>
                      </a:lnTo>
                      <a:lnTo>
                        <a:pt x="199" y="114"/>
                      </a:lnTo>
                      <a:lnTo>
                        <a:pt x="237" y="114"/>
                      </a:lnTo>
                      <a:lnTo>
                        <a:pt x="237" y="94"/>
                      </a:lnTo>
                      <a:lnTo>
                        <a:pt x="199" y="74"/>
                      </a:lnTo>
                      <a:lnTo>
                        <a:pt x="199" y="54"/>
                      </a:lnTo>
                      <a:lnTo>
                        <a:pt x="288" y="33"/>
                      </a:lnTo>
                      <a:lnTo>
                        <a:pt x="346" y="33"/>
                      </a:lnTo>
                      <a:lnTo>
                        <a:pt x="365" y="54"/>
                      </a:lnTo>
                      <a:lnTo>
                        <a:pt x="385" y="94"/>
                      </a:lnTo>
                      <a:lnTo>
                        <a:pt x="417" y="114"/>
                      </a:lnTo>
                      <a:lnTo>
                        <a:pt x="494" y="94"/>
                      </a:lnTo>
                      <a:lnTo>
                        <a:pt x="526" y="54"/>
                      </a:lnTo>
                      <a:lnTo>
                        <a:pt x="584" y="20"/>
                      </a:lnTo>
                      <a:lnTo>
                        <a:pt x="584" y="0"/>
                      </a:lnTo>
                    </a:path>
                  </a:pathLst>
                </a:custGeom>
                <a:solidFill>
                  <a:schemeClr val="accent5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5" name="Freeform 29"/>
                <p:cNvSpPr>
                  <a:spLocks/>
                </p:cNvSpPr>
                <p:nvPr/>
              </p:nvSpPr>
              <p:spPr bwMode="blackWhite">
                <a:xfrm>
                  <a:off x="2357681" y="1856652"/>
                  <a:ext cx="243964" cy="178907"/>
                </a:xfrm>
                <a:custGeom>
                  <a:avLst/>
                  <a:gdLst>
                    <a:gd name="T0" fmla="*/ 2147483647 w 162"/>
                    <a:gd name="T1" fmla="*/ 2147483647 h 116"/>
                    <a:gd name="T2" fmla="*/ 2147483647 w 162"/>
                    <a:gd name="T3" fmla="*/ 2147483647 h 116"/>
                    <a:gd name="T4" fmla="*/ 2147483647 w 162"/>
                    <a:gd name="T5" fmla="*/ 2147483647 h 116"/>
                    <a:gd name="T6" fmla="*/ 2147483647 w 162"/>
                    <a:gd name="T7" fmla="*/ 2147483647 h 116"/>
                    <a:gd name="T8" fmla="*/ 2147483647 w 162"/>
                    <a:gd name="T9" fmla="*/ 2147483647 h 116"/>
                    <a:gd name="T10" fmla="*/ 0 w 162"/>
                    <a:gd name="T11" fmla="*/ 2147483647 h 116"/>
                    <a:gd name="T12" fmla="*/ 2147483647 w 162"/>
                    <a:gd name="T13" fmla="*/ 2147483647 h 116"/>
                    <a:gd name="T14" fmla="*/ 2147483647 w 162"/>
                    <a:gd name="T15" fmla="*/ 0 h 116"/>
                    <a:gd name="T16" fmla="*/ 2147483647 w 162"/>
                    <a:gd name="T17" fmla="*/ 0 h 116"/>
                    <a:gd name="T18" fmla="*/ 2147483647 w 162"/>
                    <a:gd name="T19" fmla="*/ 2147483647 h 116"/>
                    <a:gd name="T20" fmla="*/ 2147483647 w 162"/>
                    <a:gd name="T21" fmla="*/ 0 h 116"/>
                    <a:gd name="T22" fmla="*/ 2147483647 w 162"/>
                    <a:gd name="T23" fmla="*/ 2147483647 h 11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2"/>
                    <a:gd name="T37" fmla="*/ 0 h 116"/>
                    <a:gd name="T38" fmla="*/ 162 w 162"/>
                    <a:gd name="T39" fmla="*/ 116 h 11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2" h="116">
                      <a:moveTo>
                        <a:pt x="161" y="20"/>
                      </a:moveTo>
                      <a:lnTo>
                        <a:pt x="148" y="60"/>
                      </a:lnTo>
                      <a:lnTo>
                        <a:pt x="109" y="94"/>
                      </a:lnTo>
                      <a:lnTo>
                        <a:pt x="70" y="115"/>
                      </a:lnTo>
                      <a:lnTo>
                        <a:pt x="38" y="94"/>
                      </a:lnTo>
                      <a:lnTo>
                        <a:pt x="0" y="81"/>
                      </a:lnTo>
                      <a:lnTo>
                        <a:pt x="19" y="20"/>
                      </a:lnTo>
                      <a:lnTo>
                        <a:pt x="51" y="0"/>
                      </a:lnTo>
                      <a:lnTo>
                        <a:pt x="70" y="0"/>
                      </a:lnTo>
                      <a:lnTo>
                        <a:pt x="109" y="20"/>
                      </a:lnTo>
                      <a:lnTo>
                        <a:pt x="148" y="0"/>
                      </a:lnTo>
                      <a:lnTo>
                        <a:pt x="161" y="20"/>
                      </a:lnTo>
                    </a:path>
                  </a:pathLst>
                </a:custGeom>
                <a:solidFill>
                  <a:schemeClr val="accent5"/>
                </a:solidFill>
                <a:ln w="190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6" name="Freeform 30"/>
                <p:cNvSpPr>
                  <a:spLocks/>
                </p:cNvSpPr>
                <p:nvPr/>
              </p:nvSpPr>
              <p:spPr bwMode="blackWhite">
                <a:xfrm>
                  <a:off x="1957582" y="4450260"/>
                  <a:ext cx="574670" cy="659245"/>
                </a:xfrm>
                <a:custGeom>
                  <a:avLst/>
                  <a:gdLst>
                    <a:gd name="T0" fmla="*/ 2147483647 w 380"/>
                    <a:gd name="T1" fmla="*/ 2147483647 h 426"/>
                    <a:gd name="T2" fmla="*/ 2147483647 w 380"/>
                    <a:gd name="T3" fmla="*/ 2147483647 h 426"/>
                    <a:gd name="T4" fmla="*/ 2147483647 w 380"/>
                    <a:gd name="T5" fmla="*/ 2147483647 h 426"/>
                    <a:gd name="T6" fmla="*/ 2147483647 w 380"/>
                    <a:gd name="T7" fmla="*/ 2147483647 h 426"/>
                    <a:gd name="T8" fmla="*/ 2147483647 w 380"/>
                    <a:gd name="T9" fmla="*/ 2147483647 h 426"/>
                    <a:gd name="T10" fmla="*/ 2147483647 w 380"/>
                    <a:gd name="T11" fmla="*/ 2147483647 h 426"/>
                    <a:gd name="T12" fmla="*/ 2147483647 w 380"/>
                    <a:gd name="T13" fmla="*/ 2147483647 h 426"/>
                    <a:gd name="T14" fmla="*/ 2147483647 w 380"/>
                    <a:gd name="T15" fmla="*/ 2147483647 h 426"/>
                    <a:gd name="T16" fmla="*/ 2147483647 w 380"/>
                    <a:gd name="T17" fmla="*/ 2147483647 h 426"/>
                    <a:gd name="T18" fmla="*/ 2147483647 w 380"/>
                    <a:gd name="T19" fmla="*/ 2147483647 h 426"/>
                    <a:gd name="T20" fmla="*/ 2147483647 w 380"/>
                    <a:gd name="T21" fmla="*/ 2147483647 h 426"/>
                    <a:gd name="T22" fmla="*/ 2147483647 w 380"/>
                    <a:gd name="T23" fmla="*/ 2147483647 h 426"/>
                    <a:gd name="T24" fmla="*/ 2147483647 w 380"/>
                    <a:gd name="T25" fmla="*/ 0 h 426"/>
                    <a:gd name="T26" fmla="*/ 2147483647 w 380"/>
                    <a:gd name="T27" fmla="*/ 0 h 426"/>
                    <a:gd name="T28" fmla="*/ 2147483647 w 380"/>
                    <a:gd name="T29" fmla="*/ 2147483647 h 426"/>
                    <a:gd name="T30" fmla="*/ 0 w 380"/>
                    <a:gd name="T31" fmla="*/ 2147483647 h 426"/>
                    <a:gd name="T32" fmla="*/ 0 w 380"/>
                    <a:gd name="T33" fmla="*/ 2147483647 h 426"/>
                    <a:gd name="T34" fmla="*/ 2147483647 w 380"/>
                    <a:gd name="T35" fmla="*/ 2147483647 h 426"/>
                    <a:gd name="T36" fmla="*/ 2147483647 w 380"/>
                    <a:gd name="T37" fmla="*/ 2147483647 h 426"/>
                    <a:gd name="T38" fmla="*/ 2147483647 w 380"/>
                    <a:gd name="T39" fmla="*/ 2147483647 h 426"/>
                    <a:gd name="T40" fmla="*/ 2147483647 w 380"/>
                    <a:gd name="T41" fmla="*/ 2147483647 h 426"/>
                    <a:gd name="T42" fmla="*/ 2147483647 w 380"/>
                    <a:gd name="T43" fmla="*/ 2147483647 h 426"/>
                    <a:gd name="T44" fmla="*/ 2147483647 w 380"/>
                    <a:gd name="T45" fmla="*/ 2147483647 h 426"/>
                    <a:gd name="T46" fmla="*/ 2147483647 w 380"/>
                    <a:gd name="T47" fmla="*/ 2147483647 h 426"/>
                    <a:gd name="T48" fmla="*/ 2147483647 w 380"/>
                    <a:gd name="T49" fmla="*/ 2147483647 h 42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80"/>
                    <a:gd name="T76" fmla="*/ 0 h 426"/>
                    <a:gd name="T77" fmla="*/ 380 w 380"/>
                    <a:gd name="T78" fmla="*/ 426 h 42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80" h="426">
                      <a:moveTo>
                        <a:pt x="199" y="425"/>
                      </a:moveTo>
                      <a:lnTo>
                        <a:pt x="237" y="404"/>
                      </a:lnTo>
                      <a:lnTo>
                        <a:pt x="269" y="323"/>
                      </a:lnTo>
                      <a:lnTo>
                        <a:pt x="308" y="289"/>
                      </a:lnTo>
                      <a:lnTo>
                        <a:pt x="346" y="196"/>
                      </a:lnTo>
                      <a:lnTo>
                        <a:pt x="379" y="135"/>
                      </a:lnTo>
                      <a:lnTo>
                        <a:pt x="366" y="114"/>
                      </a:lnTo>
                      <a:lnTo>
                        <a:pt x="366" y="81"/>
                      </a:lnTo>
                      <a:lnTo>
                        <a:pt x="346" y="81"/>
                      </a:lnTo>
                      <a:lnTo>
                        <a:pt x="327" y="60"/>
                      </a:lnTo>
                      <a:lnTo>
                        <a:pt x="289" y="40"/>
                      </a:lnTo>
                      <a:lnTo>
                        <a:pt x="269" y="20"/>
                      </a:lnTo>
                      <a:lnTo>
                        <a:pt x="218" y="0"/>
                      </a:lnTo>
                      <a:lnTo>
                        <a:pt x="160" y="0"/>
                      </a:lnTo>
                      <a:lnTo>
                        <a:pt x="109" y="40"/>
                      </a:lnTo>
                      <a:lnTo>
                        <a:pt x="0" y="209"/>
                      </a:lnTo>
                      <a:lnTo>
                        <a:pt x="0" y="228"/>
                      </a:lnTo>
                      <a:lnTo>
                        <a:pt x="38" y="228"/>
                      </a:lnTo>
                      <a:lnTo>
                        <a:pt x="109" y="269"/>
                      </a:lnTo>
                      <a:lnTo>
                        <a:pt x="128" y="269"/>
                      </a:lnTo>
                      <a:lnTo>
                        <a:pt x="199" y="343"/>
                      </a:lnTo>
                      <a:lnTo>
                        <a:pt x="218" y="323"/>
                      </a:lnTo>
                      <a:lnTo>
                        <a:pt x="218" y="364"/>
                      </a:lnTo>
                      <a:lnTo>
                        <a:pt x="199" y="384"/>
                      </a:lnTo>
                      <a:lnTo>
                        <a:pt x="199" y="425"/>
                      </a:lnTo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7" name="Freeform 22"/>
                <p:cNvSpPr>
                  <a:spLocks/>
                </p:cNvSpPr>
                <p:nvPr/>
              </p:nvSpPr>
              <p:spPr bwMode="blackWhite">
                <a:xfrm>
                  <a:off x="1504352" y="2562522"/>
                  <a:ext cx="931400" cy="1034407"/>
                </a:xfrm>
                <a:custGeom>
                  <a:avLst/>
                  <a:gdLst>
                    <a:gd name="T0" fmla="*/ 2147483647 w 617"/>
                    <a:gd name="T1" fmla="*/ 2147483647 h 668"/>
                    <a:gd name="T2" fmla="*/ 2147483647 w 617"/>
                    <a:gd name="T3" fmla="*/ 2147483647 h 668"/>
                    <a:gd name="T4" fmla="*/ 2147483647 w 617"/>
                    <a:gd name="T5" fmla="*/ 2147483647 h 668"/>
                    <a:gd name="T6" fmla="*/ 2147483647 w 617"/>
                    <a:gd name="T7" fmla="*/ 2147483647 h 668"/>
                    <a:gd name="T8" fmla="*/ 2147483647 w 617"/>
                    <a:gd name="T9" fmla="*/ 2147483647 h 668"/>
                    <a:gd name="T10" fmla="*/ 2147483647 w 617"/>
                    <a:gd name="T11" fmla="*/ 0 h 668"/>
                    <a:gd name="T12" fmla="*/ 2147483647 w 617"/>
                    <a:gd name="T13" fmla="*/ 2147483647 h 668"/>
                    <a:gd name="T14" fmla="*/ 2147483647 w 617"/>
                    <a:gd name="T15" fmla="*/ 2147483647 h 668"/>
                    <a:gd name="T16" fmla="*/ 2147483647 w 617"/>
                    <a:gd name="T17" fmla="*/ 2147483647 h 668"/>
                    <a:gd name="T18" fmla="*/ 2147483647 w 617"/>
                    <a:gd name="T19" fmla="*/ 2147483647 h 668"/>
                    <a:gd name="T20" fmla="*/ 0 w 617"/>
                    <a:gd name="T21" fmla="*/ 2147483647 h 668"/>
                    <a:gd name="T22" fmla="*/ 0 w 617"/>
                    <a:gd name="T23" fmla="*/ 2147483647 h 668"/>
                    <a:gd name="T24" fmla="*/ 2147483647 w 617"/>
                    <a:gd name="T25" fmla="*/ 2147483647 h 668"/>
                    <a:gd name="T26" fmla="*/ 2147483647 w 617"/>
                    <a:gd name="T27" fmla="*/ 2147483647 h 668"/>
                    <a:gd name="T28" fmla="*/ 2147483647 w 617"/>
                    <a:gd name="T29" fmla="*/ 2147483647 h 668"/>
                    <a:gd name="T30" fmla="*/ 2147483647 w 617"/>
                    <a:gd name="T31" fmla="*/ 2147483647 h 668"/>
                    <a:gd name="T32" fmla="*/ 2147483647 w 617"/>
                    <a:gd name="T33" fmla="*/ 2147483647 h 668"/>
                    <a:gd name="T34" fmla="*/ 2147483647 w 617"/>
                    <a:gd name="T35" fmla="*/ 2147483647 h 668"/>
                    <a:gd name="T36" fmla="*/ 2147483647 w 617"/>
                    <a:gd name="T37" fmla="*/ 2147483647 h 668"/>
                    <a:gd name="T38" fmla="*/ 2147483647 w 617"/>
                    <a:gd name="T39" fmla="*/ 2147483647 h 668"/>
                    <a:gd name="T40" fmla="*/ 2147483647 w 617"/>
                    <a:gd name="T41" fmla="*/ 2147483647 h 668"/>
                    <a:gd name="T42" fmla="*/ 2147483647 w 617"/>
                    <a:gd name="T43" fmla="*/ 2147483647 h 668"/>
                    <a:gd name="T44" fmla="*/ 2147483647 w 617"/>
                    <a:gd name="T45" fmla="*/ 2147483647 h 668"/>
                    <a:gd name="T46" fmla="*/ 2147483647 w 617"/>
                    <a:gd name="T47" fmla="*/ 2147483647 h 668"/>
                    <a:gd name="T48" fmla="*/ 2147483647 w 617"/>
                    <a:gd name="T49" fmla="*/ 2147483647 h 668"/>
                    <a:gd name="T50" fmla="*/ 2147483647 w 617"/>
                    <a:gd name="T51" fmla="*/ 2147483647 h 668"/>
                    <a:gd name="T52" fmla="*/ 2147483647 w 617"/>
                    <a:gd name="T53" fmla="*/ 2147483647 h 668"/>
                    <a:gd name="T54" fmla="*/ 2147483647 w 617"/>
                    <a:gd name="T55" fmla="*/ 2147483647 h 668"/>
                    <a:gd name="T56" fmla="*/ 2147483647 w 617"/>
                    <a:gd name="T57" fmla="*/ 2147483647 h 668"/>
                    <a:gd name="T58" fmla="*/ 2147483647 w 617"/>
                    <a:gd name="T59" fmla="*/ 2147483647 h 668"/>
                    <a:gd name="T60" fmla="*/ 2147483647 w 617"/>
                    <a:gd name="T61" fmla="*/ 2147483647 h 668"/>
                    <a:gd name="T62" fmla="*/ 2147483647 w 617"/>
                    <a:gd name="T63" fmla="*/ 2147483647 h 668"/>
                    <a:gd name="T64" fmla="*/ 2147483647 w 617"/>
                    <a:gd name="T65" fmla="*/ 2147483647 h 668"/>
                    <a:gd name="T66" fmla="*/ 2147483647 w 617"/>
                    <a:gd name="T67" fmla="*/ 2147483647 h 668"/>
                    <a:gd name="T68" fmla="*/ 2147483647 w 617"/>
                    <a:gd name="T69" fmla="*/ 2147483647 h 668"/>
                    <a:gd name="T70" fmla="*/ 2147483647 w 617"/>
                    <a:gd name="T71" fmla="*/ 2147483647 h 668"/>
                    <a:gd name="T72" fmla="*/ 2147483647 w 617"/>
                    <a:gd name="T73" fmla="*/ 2147483647 h 668"/>
                    <a:gd name="T74" fmla="*/ 2147483647 w 617"/>
                    <a:gd name="T75" fmla="*/ 2147483647 h 668"/>
                    <a:gd name="T76" fmla="*/ 2147483647 w 617"/>
                    <a:gd name="T77" fmla="*/ 2147483647 h 668"/>
                    <a:gd name="T78" fmla="*/ 2147483647 w 617"/>
                    <a:gd name="T79" fmla="*/ 2147483647 h 668"/>
                    <a:gd name="T80" fmla="*/ 2147483647 w 617"/>
                    <a:gd name="T81" fmla="*/ 2147483647 h 668"/>
                    <a:gd name="T82" fmla="*/ 2147483647 w 617"/>
                    <a:gd name="T83" fmla="*/ 2147483647 h 668"/>
                    <a:gd name="T84" fmla="*/ 2147483647 w 617"/>
                    <a:gd name="T85" fmla="*/ 2147483647 h 668"/>
                    <a:gd name="T86" fmla="*/ 2147483647 w 617"/>
                    <a:gd name="T87" fmla="*/ 2147483647 h 66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17"/>
                    <a:gd name="T133" fmla="*/ 0 h 668"/>
                    <a:gd name="T134" fmla="*/ 617 w 617"/>
                    <a:gd name="T135" fmla="*/ 668 h 66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17" h="668">
                      <a:moveTo>
                        <a:pt x="616" y="147"/>
                      </a:moveTo>
                      <a:lnTo>
                        <a:pt x="288" y="134"/>
                      </a:lnTo>
                      <a:lnTo>
                        <a:pt x="249" y="114"/>
                      </a:lnTo>
                      <a:lnTo>
                        <a:pt x="237" y="94"/>
                      </a:lnTo>
                      <a:lnTo>
                        <a:pt x="218" y="54"/>
                      </a:lnTo>
                      <a:lnTo>
                        <a:pt x="179" y="0"/>
                      </a:lnTo>
                      <a:lnTo>
                        <a:pt x="179" y="33"/>
                      </a:lnTo>
                      <a:lnTo>
                        <a:pt x="160" y="74"/>
                      </a:lnTo>
                      <a:lnTo>
                        <a:pt x="160" y="114"/>
                      </a:lnTo>
                      <a:lnTo>
                        <a:pt x="12" y="114"/>
                      </a:lnTo>
                      <a:lnTo>
                        <a:pt x="0" y="147"/>
                      </a:lnTo>
                      <a:lnTo>
                        <a:pt x="0" y="249"/>
                      </a:lnTo>
                      <a:lnTo>
                        <a:pt x="89" y="262"/>
                      </a:lnTo>
                      <a:lnTo>
                        <a:pt x="89" y="343"/>
                      </a:lnTo>
                      <a:lnTo>
                        <a:pt x="51" y="417"/>
                      </a:lnTo>
                      <a:lnTo>
                        <a:pt x="70" y="478"/>
                      </a:lnTo>
                      <a:lnTo>
                        <a:pt x="51" y="498"/>
                      </a:lnTo>
                      <a:lnTo>
                        <a:pt x="70" y="532"/>
                      </a:lnTo>
                      <a:lnTo>
                        <a:pt x="70" y="572"/>
                      </a:lnTo>
                      <a:lnTo>
                        <a:pt x="160" y="592"/>
                      </a:lnTo>
                      <a:lnTo>
                        <a:pt x="199" y="592"/>
                      </a:lnTo>
                      <a:lnTo>
                        <a:pt x="199" y="612"/>
                      </a:lnTo>
                      <a:lnTo>
                        <a:pt x="218" y="646"/>
                      </a:lnTo>
                      <a:lnTo>
                        <a:pt x="249" y="667"/>
                      </a:lnTo>
                      <a:lnTo>
                        <a:pt x="249" y="646"/>
                      </a:lnTo>
                      <a:lnTo>
                        <a:pt x="269" y="626"/>
                      </a:lnTo>
                      <a:lnTo>
                        <a:pt x="307" y="626"/>
                      </a:lnTo>
                      <a:lnTo>
                        <a:pt x="358" y="646"/>
                      </a:lnTo>
                      <a:lnTo>
                        <a:pt x="397" y="626"/>
                      </a:lnTo>
                      <a:lnTo>
                        <a:pt x="416" y="612"/>
                      </a:lnTo>
                      <a:lnTo>
                        <a:pt x="436" y="612"/>
                      </a:lnTo>
                      <a:lnTo>
                        <a:pt x="455" y="626"/>
                      </a:lnTo>
                      <a:lnTo>
                        <a:pt x="468" y="626"/>
                      </a:lnTo>
                      <a:lnTo>
                        <a:pt x="468" y="612"/>
                      </a:lnTo>
                      <a:lnTo>
                        <a:pt x="487" y="553"/>
                      </a:lnTo>
                      <a:lnTo>
                        <a:pt x="526" y="512"/>
                      </a:lnTo>
                      <a:lnTo>
                        <a:pt x="545" y="478"/>
                      </a:lnTo>
                      <a:lnTo>
                        <a:pt x="577" y="458"/>
                      </a:lnTo>
                      <a:lnTo>
                        <a:pt x="596" y="417"/>
                      </a:lnTo>
                      <a:lnTo>
                        <a:pt x="596" y="377"/>
                      </a:lnTo>
                      <a:lnTo>
                        <a:pt x="616" y="323"/>
                      </a:lnTo>
                      <a:lnTo>
                        <a:pt x="596" y="262"/>
                      </a:lnTo>
                      <a:lnTo>
                        <a:pt x="596" y="208"/>
                      </a:lnTo>
                      <a:lnTo>
                        <a:pt x="616" y="147"/>
                      </a:lnTo>
                    </a:path>
                  </a:pathLst>
                </a:custGeom>
                <a:solidFill>
                  <a:schemeClr val="accent2"/>
                </a:solidFill>
                <a:ln w="9525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headEnd/>
                  <a:tailEnd/>
                </a:ln>
                <a:effectLst>
                  <a:innerShdw blurRad="495300">
                    <a:prstClr val="black">
                      <a:alpha val="37000"/>
                    </a:prstClr>
                  </a:innerShdw>
                </a:effectLst>
              </p:spPr>
              <p:txBody>
                <a:bodyPr/>
                <a:lstStyle/>
                <a:p>
                  <a:endParaRPr lang="pt-BR" sz="1600" kern="0" dirty="0">
                    <a:solidFill>
                      <a:sysClr val="window" lastClr="FFFFFF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237" name="Elipse 236"/>
              <p:cNvSpPr/>
              <p:nvPr/>
            </p:nvSpPr>
            <p:spPr>
              <a:xfrm>
                <a:off x="2840858" y="2295249"/>
                <a:ext cx="622443" cy="5819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NE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0,28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8" name="Elipse 237"/>
              <p:cNvSpPr/>
              <p:nvPr/>
            </p:nvSpPr>
            <p:spPr>
              <a:xfrm>
                <a:off x="1428451" y="1904593"/>
                <a:ext cx="622443" cy="5819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NO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0,26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9" name="Elipse 238"/>
              <p:cNvSpPr/>
              <p:nvPr/>
            </p:nvSpPr>
            <p:spPr>
              <a:xfrm>
                <a:off x="2523794" y="3336817"/>
                <a:ext cx="622443" cy="5819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SE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0,42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0" name="Elipse 239"/>
              <p:cNvSpPr/>
              <p:nvPr/>
            </p:nvSpPr>
            <p:spPr>
              <a:xfrm>
                <a:off x="1785437" y="2946679"/>
                <a:ext cx="622443" cy="5819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CO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0,34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1" name="Elipse 240"/>
              <p:cNvSpPr/>
              <p:nvPr/>
            </p:nvSpPr>
            <p:spPr>
              <a:xfrm>
                <a:off x="1962379" y="4083888"/>
                <a:ext cx="622443" cy="5819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S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0,46</a:t>
                </a: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4" name="Freeform 27"/>
            <p:cNvSpPr>
              <a:spLocks/>
            </p:cNvSpPr>
            <p:nvPr/>
          </p:nvSpPr>
          <p:spPr bwMode="blackWhite">
            <a:xfrm>
              <a:off x="9103243" y="1695288"/>
              <a:ext cx="497115" cy="651181"/>
            </a:xfrm>
            <a:custGeom>
              <a:avLst/>
              <a:gdLst>
                <a:gd name="T0" fmla="*/ 2147483647 w 329"/>
                <a:gd name="T1" fmla="*/ 2147483647 h 419"/>
                <a:gd name="T2" fmla="*/ 2147483647 w 329"/>
                <a:gd name="T3" fmla="*/ 2147483647 h 419"/>
                <a:gd name="T4" fmla="*/ 2147483647 w 329"/>
                <a:gd name="T5" fmla="*/ 2147483647 h 419"/>
                <a:gd name="T6" fmla="*/ 2147483647 w 329"/>
                <a:gd name="T7" fmla="*/ 2147483647 h 419"/>
                <a:gd name="T8" fmla="*/ 2147483647 w 329"/>
                <a:gd name="T9" fmla="*/ 2147483647 h 419"/>
                <a:gd name="T10" fmla="*/ 2147483647 w 329"/>
                <a:gd name="T11" fmla="*/ 2147483647 h 419"/>
                <a:gd name="T12" fmla="*/ 2147483647 w 329"/>
                <a:gd name="T13" fmla="*/ 2147483647 h 419"/>
                <a:gd name="T14" fmla="*/ 2147483647 w 329"/>
                <a:gd name="T15" fmla="*/ 2147483647 h 419"/>
                <a:gd name="T16" fmla="*/ 2147483647 w 329"/>
                <a:gd name="T17" fmla="*/ 2147483647 h 419"/>
                <a:gd name="T18" fmla="*/ 2147483647 w 329"/>
                <a:gd name="T19" fmla="*/ 2147483647 h 419"/>
                <a:gd name="T20" fmla="*/ 2147483647 w 329"/>
                <a:gd name="T21" fmla="*/ 2147483647 h 419"/>
                <a:gd name="T22" fmla="*/ 2147483647 w 329"/>
                <a:gd name="T23" fmla="*/ 2147483647 h 419"/>
                <a:gd name="T24" fmla="*/ 2147483647 w 329"/>
                <a:gd name="T25" fmla="*/ 2147483647 h 419"/>
                <a:gd name="T26" fmla="*/ 2147483647 w 329"/>
                <a:gd name="T27" fmla="*/ 2147483647 h 419"/>
                <a:gd name="T28" fmla="*/ 2147483647 w 329"/>
                <a:gd name="T29" fmla="*/ 2147483647 h 419"/>
                <a:gd name="T30" fmla="*/ 2147483647 w 329"/>
                <a:gd name="T31" fmla="*/ 2147483647 h 419"/>
                <a:gd name="T32" fmla="*/ 2147483647 w 329"/>
                <a:gd name="T33" fmla="*/ 2147483647 h 419"/>
                <a:gd name="T34" fmla="*/ 2147483647 w 329"/>
                <a:gd name="T35" fmla="*/ 2147483647 h 419"/>
                <a:gd name="T36" fmla="*/ 2147483647 w 329"/>
                <a:gd name="T37" fmla="*/ 2147483647 h 419"/>
                <a:gd name="T38" fmla="*/ 0 w 329"/>
                <a:gd name="T39" fmla="*/ 2147483647 h 419"/>
                <a:gd name="T40" fmla="*/ 2147483647 w 329"/>
                <a:gd name="T41" fmla="*/ 2147483647 h 419"/>
                <a:gd name="T42" fmla="*/ 2147483647 w 329"/>
                <a:gd name="T43" fmla="*/ 2147483647 h 419"/>
                <a:gd name="T44" fmla="*/ 2147483647 w 329"/>
                <a:gd name="T45" fmla="*/ 2147483647 h 419"/>
                <a:gd name="T46" fmla="*/ 2147483647 w 329"/>
                <a:gd name="T47" fmla="*/ 2147483647 h 419"/>
                <a:gd name="T48" fmla="*/ 2147483647 w 329"/>
                <a:gd name="T49" fmla="*/ 2147483647 h 419"/>
                <a:gd name="T50" fmla="*/ 2147483647 w 329"/>
                <a:gd name="T51" fmla="*/ 2147483647 h 419"/>
                <a:gd name="T52" fmla="*/ 2147483647 w 329"/>
                <a:gd name="T53" fmla="*/ 0 h 419"/>
                <a:gd name="T54" fmla="*/ 2147483647 w 329"/>
                <a:gd name="T55" fmla="*/ 2147483647 h 419"/>
                <a:gd name="T56" fmla="*/ 2147483647 w 329"/>
                <a:gd name="T57" fmla="*/ 2147483647 h 419"/>
                <a:gd name="T58" fmla="*/ 2147483647 w 329"/>
                <a:gd name="T59" fmla="*/ 2147483647 h 419"/>
                <a:gd name="T60" fmla="*/ 2147483647 w 329"/>
                <a:gd name="T61" fmla="*/ 2147483647 h 419"/>
                <a:gd name="T62" fmla="*/ 2147483647 w 329"/>
                <a:gd name="T63" fmla="*/ 2147483647 h 419"/>
                <a:gd name="T64" fmla="*/ 2147483647 w 329"/>
                <a:gd name="T65" fmla="*/ 2147483647 h 419"/>
                <a:gd name="T66" fmla="*/ 2147483647 w 329"/>
                <a:gd name="T67" fmla="*/ 2147483647 h 419"/>
                <a:gd name="T68" fmla="*/ 2147483647 w 329"/>
                <a:gd name="T69" fmla="*/ 2147483647 h 419"/>
                <a:gd name="T70" fmla="*/ 2147483647 w 329"/>
                <a:gd name="T71" fmla="*/ 2147483647 h 4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9"/>
                <a:gd name="T109" fmla="*/ 0 h 419"/>
                <a:gd name="T110" fmla="*/ 329 w 329"/>
                <a:gd name="T111" fmla="*/ 419 h 4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9" h="419">
                  <a:moveTo>
                    <a:pt x="328" y="343"/>
                  </a:moveTo>
                  <a:lnTo>
                    <a:pt x="270" y="343"/>
                  </a:lnTo>
                  <a:lnTo>
                    <a:pt x="250" y="357"/>
                  </a:lnTo>
                  <a:lnTo>
                    <a:pt x="250" y="377"/>
                  </a:lnTo>
                  <a:lnTo>
                    <a:pt x="231" y="397"/>
                  </a:lnTo>
                  <a:lnTo>
                    <a:pt x="218" y="397"/>
                  </a:lnTo>
                  <a:lnTo>
                    <a:pt x="199" y="377"/>
                  </a:lnTo>
                  <a:lnTo>
                    <a:pt x="180" y="377"/>
                  </a:lnTo>
                  <a:lnTo>
                    <a:pt x="160" y="418"/>
                  </a:lnTo>
                  <a:lnTo>
                    <a:pt x="122" y="397"/>
                  </a:lnTo>
                  <a:lnTo>
                    <a:pt x="109" y="377"/>
                  </a:lnTo>
                  <a:lnTo>
                    <a:pt x="122" y="357"/>
                  </a:lnTo>
                  <a:lnTo>
                    <a:pt x="122" y="303"/>
                  </a:lnTo>
                  <a:lnTo>
                    <a:pt x="109" y="262"/>
                  </a:lnTo>
                  <a:lnTo>
                    <a:pt x="109" y="228"/>
                  </a:lnTo>
                  <a:lnTo>
                    <a:pt x="90" y="208"/>
                  </a:lnTo>
                  <a:lnTo>
                    <a:pt x="51" y="188"/>
                  </a:lnTo>
                  <a:lnTo>
                    <a:pt x="32" y="147"/>
                  </a:lnTo>
                  <a:lnTo>
                    <a:pt x="32" y="114"/>
                  </a:lnTo>
                  <a:lnTo>
                    <a:pt x="0" y="93"/>
                  </a:lnTo>
                  <a:lnTo>
                    <a:pt x="12" y="73"/>
                  </a:lnTo>
                  <a:lnTo>
                    <a:pt x="90" y="93"/>
                  </a:lnTo>
                  <a:lnTo>
                    <a:pt x="109" y="93"/>
                  </a:lnTo>
                  <a:lnTo>
                    <a:pt x="122" y="114"/>
                  </a:lnTo>
                  <a:lnTo>
                    <a:pt x="141" y="73"/>
                  </a:lnTo>
                  <a:lnTo>
                    <a:pt x="218" y="32"/>
                  </a:lnTo>
                  <a:lnTo>
                    <a:pt x="218" y="0"/>
                  </a:lnTo>
                  <a:lnTo>
                    <a:pt x="250" y="13"/>
                  </a:lnTo>
                  <a:lnTo>
                    <a:pt x="250" y="53"/>
                  </a:lnTo>
                  <a:lnTo>
                    <a:pt x="270" y="53"/>
                  </a:lnTo>
                  <a:lnTo>
                    <a:pt x="289" y="93"/>
                  </a:lnTo>
                  <a:lnTo>
                    <a:pt x="270" y="147"/>
                  </a:lnTo>
                  <a:lnTo>
                    <a:pt x="289" y="228"/>
                  </a:lnTo>
                  <a:lnTo>
                    <a:pt x="308" y="242"/>
                  </a:lnTo>
                  <a:lnTo>
                    <a:pt x="328" y="303"/>
                  </a:lnTo>
                  <a:lnTo>
                    <a:pt x="328" y="343"/>
                  </a:lnTo>
                </a:path>
              </a:pathLst>
            </a:custGeom>
            <a:solidFill>
              <a:schemeClr val="accent5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>
              <a:innerShdw blurRad="495300">
                <a:prstClr val="black">
                  <a:alpha val="37000"/>
                </a:prstClr>
              </a:innerShdw>
            </a:effectLst>
          </p:spPr>
          <p:txBody>
            <a:bodyPr/>
            <a:lstStyle/>
            <a:p>
              <a:endParaRPr lang="pt-BR" sz="1600" kern="0" dirty="0">
                <a:solidFill>
                  <a:sysClr val="window" lastClr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78" name="CaixaDeTexto 277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</a:t>
            </a:r>
            <a:r>
              <a:rPr lang="pt-BR" sz="1000" i="1" dirty="0" err="1"/>
              <a:t>abr</a:t>
            </a:r>
            <a:r>
              <a:rPr lang="pt-BR" sz="1000" i="1" dirty="0"/>
              <a:t>/19 | Tarifa média </a:t>
            </a:r>
            <a:r>
              <a:rPr lang="pt-BR" sz="1000" dirty="0"/>
              <a:t>=  </a:t>
            </a:r>
            <a:r>
              <a:rPr lang="pt-BR" sz="1000" i="1" dirty="0"/>
              <a:t>Receita total dividida pelo número total de passageiros </a:t>
            </a:r>
          </a:p>
        </p:txBody>
      </p:sp>
      <p:sp>
        <p:nvSpPr>
          <p:cNvPr id="279" name="CaixaDeTexto 278"/>
          <p:cNvSpPr txBox="1"/>
          <p:nvPr/>
        </p:nvSpPr>
        <p:spPr>
          <a:xfrm>
            <a:off x="363259" y="266208"/>
            <a:ext cx="116877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latin typeface="Latam Sans" panose="020B0505030403020204" pitchFamily="34" charset="0"/>
                <a:ea typeface="Helvetica Neue"/>
                <a:cs typeface="Helvetica Neue"/>
                <a:sym typeface="Helvetica Neue"/>
              </a:rPr>
              <a:t>Tarifa e distância média da LATAM</a:t>
            </a:r>
          </a:p>
        </p:txBody>
      </p:sp>
      <p:sp>
        <p:nvSpPr>
          <p:cNvPr id="280" name="CaixaDeTexto 279"/>
          <p:cNvSpPr txBox="1"/>
          <p:nvPr/>
        </p:nvSpPr>
        <p:spPr>
          <a:xfrm>
            <a:off x="513349" y="5120507"/>
            <a:ext cx="4626438" cy="12464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latin typeface="Latam Sans" panose="020B0505030403020204" pitchFamily="34" charset="0"/>
              </a:rPr>
              <a:t>Preço unitário por KM médio: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pt-BR" sz="1500" dirty="0">
                <a:solidFill>
                  <a:srgbClr val="280087"/>
                </a:solidFill>
                <a:latin typeface="Latam Sans" panose="020B0505030403020204" pitchFamily="34" charset="0"/>
              </a:rPr>
              <a:t>Brasil: </a:t>
            </a:r>
            <a:r>
              <a:rPr lang="pt-BR" sz="1500" b="1" dirty="0">
                <a:solidFill>
                  <a:srgbClr val="280087"/>
                </a:solidFill>
                <a:latin typeface="Latam Sans" panose="020B0505030403020204" pitchFamily="34" charset="0"/>
              </a:rPr>
              <a:t>R$ 0,36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pt-BR" sz="1500" dirty="0">
                <a:latin typeface="Latam Sans" panose="020B0505030403020204" pitchFamily="34" charset="0"/>
              </a:rPr>
              <a:t>Norte: </a:t>
            </a:r>
            <a:r>
              <a:rPr lang="pt-BR" sz="1500" b="1" dirty="0">
                <a:latin typeface="Latam Sans" panose="020B0505030403020204" pitchFamily="34" charset="0"/>
              </a:rPr>
              <a:t>R$ 0,26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pt-BR" sz="1500" dirty="0">
                <a:latin typeface="Latam Sans" panose="020B0505030403020204" pitchFamily="34" charset="0"/>
              </a:rPr>
              <a:t>Nordeste: </a:t>
            </a:r>
            <a:r>
              <a:rPr lang="pt-BR" sz="1500" b="1" dirty="0">
                <a:latin typeface="Latam Sans" panose="020B0505030403020204" pitchFamily="34" charset="0"/>
              </a:rPr>
              <a:t>R$ 0,28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pt-BR" sz="1500" dirty="0">
                <a:latin typeface="Latam Sans" panose="020B0505030403020204" pitchFamily="34" charset="0"/>
              </a:rPr>
              <a:t>Centro-oeste: </a:t>
            </a:r>
            <a:r>
              <a:rPr lang="pt-BR" sz="1500" b="1" dirty="0">
                <a:latin typeface="Latam Sans" panose="020B0505030403020204" pitchFamily="34" charset="0"/>
              </a:rPr>
              <a:t>R$ 0,34</a:t>
            </a:r>
          </a:p>
        </p:txBody>
      </p:sp>
      <p:sp>
        <p:nvSpPr>
          <p:cNvPr id="2" name="Retângulo 1"/>
          <p:cNvSpPr/>
          <p:nvPr/>
        </p:nvSpPr>
        <p:spPr>
          <a:xfrm>
            <a:off x="7020486" y="5272547"/>
            <a:ext cx="484773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dirty="0">
                <a:latin typeface="Latam Sans" panose="020B0505030403020204" pitchFamily="34" charset="0"/>
              </a:rPr>
              <a:t>Em relação à média do país,</a:t>
            </a:r>
          </a:p>
          <a:p>
            <a:pPr algn="ctr"/>
            <a:r>
              <a:rPr lang="pt-BR" sz="2000" dirty="0">
                <a:latin typeface="Latam Sans" panose="020B0505030403020204" pitchFamily="34" charset="0"/>
              </a:rPr>
              <a:t>a média no</a:t>
            </a:r>
            <a:r>
              <a:rPr lang="pt-BR" sz="2000" dirty="0">
                <a:solidFill>
                  <a:srgbClr val="535353"/>
                </a:solidFill>
                <a:latin typeface="Latam Sans" panose="020B0505030403020204" pitchFamily="34" charset="0"/>
              </a:rPr>
              <a:t> </a:t>
            </a:r>
            <a:r>
              <a:rPr lang="pt-BR" sz="2000" b="1" dirty="0">
                <a:latin typeface="Latam Sans" panose="020B0505030403020204" pitchFamily="34" charset="0"/>
              </a:rPr>
              <a:t>Norte </a:t>
            </a:r>
            <a:r>
              <a:rPr lang="pt-BR" sz="2000" dirty="0">
                <a:latin typeface="Latam Sans" panose="020B0505030403020204" pitchFamily="34" charset="0"/>
              </a:rPr>
              <a:t>é </a:t>
            </a:r>
            <a:r>
              <a:rPr lang="pt-BR" sz="2000" b="1" dirty="0">
                <a:latin typeface="Latam Sans" panose="020B0505030403020204" pitchFamily="34" charset="0"/>
              </a:rPr>
              <a:t>28% menor</a:t>
            </a:r>
          </a:p>
          <a:p>
            <a:pPr algn="ctr"/>
            <a:r>
              <a:rPr lang="pt-BR" sz="2000" dirty="0">
                <a:latin typeface="Latam Sans" panose="020B0505030403020204" pitchFamily="34" charset="0"/>
              </a:rPr>
              <a:t>e a do </a:t>
            </a:r>
            <a:r>
              <a:rPr lang="pt-BR" sz="2000" b="1" dirty="0">
                <a:latin typeface="Latam Sans" panose="020B0505030403020204" pitchFamily="34" charset="0"/>
              </a:rPr>
              <a:t>Nordeste</a:t>
            </a:r>
            <a:r>
              <a:rPr lang="pt-BR" sz="2000" dirty="0">
                <a:latin typeface="Latam Sans" panose="020B0505030403020204" pitchFamily="34" charset="0"/>
              </a:rPr>
              <a:t> é </a:t>
            </a:r>
            <a:r>
              <a:rPr lang="pt-BR" sz="2000" b="1" dirty="0">
                <a:latin typeface="Latam Sans" panose="020B0505030403020204" pitchFamily="34" charset="0"/>
              </a:rPr>
              <a:t>22% menor</a:t>
            </a:r>
            <a:br>
              <a:rPr lang="pt-BR" sz="2000" dirty="0">
                <a:latin typeface="Latam Sans" panose="020B0505030403020204" pitchFamily="34" charset="0"/>
              </a:rPr>
            </a:br>
            <a:endParaRPr lang="pt-BR" sz="2000" b="1" dirty="0">
              <a:latin typeface="Latam Sans" panose="020B0505030403020204" pitchFamily="34" charset="0"/>
            </a:endParaRPr>
          </a:p>
        </p:txBody>
      </p:sp>
      <p:sp>
        <p:nvSpPr>
          <p:cNvPr id="114" name="Seta para a direita 113"/>
          <p:cNvSpPr/>
          <p:nvPr/>
        </p:nvSpPr>
        <p:spPr>
          <a:xfrm>
            <a:off x="5690369" y="5527565"/>
            <a:ext cx="1002363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8" name="Elipse 117"/>
          <p:cNvSpPr/>
          <p:nvPr/>
        </p:nvSpPr>
        <p:spPr>
          <a:xfrm>
            <a:off x="10716810" y="4055876"/>
            <a:ext cx="690253" cy="638663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900" b="1" dirty="0">
                <a:solidFill>
                  <a:schemeClr val="tx1"/>
                </a:solidFill>
              </a:rPr>
              <a:t>Média Nacional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0,36</a:t>
            </a:r>
            <a:endParaRPr lang="pt-BR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2104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Slide do think-cell" r:id="rId45" imgW="421" imgH="423" progId="TCLayout.ActiveDocument.1">
                  <p:embed/>
                </p:oleObj>
              </mc:Choice>
              <mc:Fallback>
                <p:oleObj name="Slide do think-cell" r:id="rId4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b="1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1"/>
          </p:nvPr>
        </p:nvSpPr>
        <p:spPr>
          <a:xfrm>
            <a:off x="556037" y="247620"/>
            <a:ext cx="11904443" cy="806223"/>
          </a:xfrm>
        </p:spPr>
        <p:txBody>
          <a:bodyPr/>
          <a:lstStyle/>
          <a:p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Perfil de emissão – Vendas: MANAUS</a:t>
            </a:r>
            <a:endParaRPr lang="pt-BR" sz="2800" kern="1200" baseline="30000" dirty="0">
              <a:solidFill>
                <a:schemeClr val="tx1"/>
              </a:solidFill>
              <a:latin typeface="Latam Sans" panose="020B0505030403020204" pitchFamily="34" charset="0"/>
            </a:endParaRP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sz="1067" dirty="0"/>
              <a:t>LATAM Airlines Brasil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101" name="Chart 3"/>
          <p:cNvGraphicFramePr/>
          <p:nvPr>
            <p:custDataLst>
              <p:tags r:id="rId4"/>
            </p:custDataLst>
          </p:nvPr>
        </p:nvGraphicFramePr>
        <p:xfrm>
          <a:off x="499533" y="4392085"/>
          <a:ext cx="7823200" cy="149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9" name="Retângulo 8"/>
          <p:cNvSpPr/>
          <p:nvPr>
            <p:custDataLst>
              <p:tags r:id="rId5"/>
            </p:custDataLst>
          </p:nvPr>
        </p:nvSpPr>
        <p:spPr bwMode="auto">
          <a:xfrm>
            <a:off x="8022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AF296-38DA-4F52-A1D3-A2D461A46F03}" type="datetime'''''''0'''''''''''''''''''''' a'''' ''''''''''''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 a 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tângulo 10"/>
          <p:cNvSpPr/>
          <p:nvPr>
            <p:custDataLst>
              <p:tags r:id="rId6"/>
            </p:custDataLst>
          </p:nvPr>
        </p:nvSpPr>
        <p:spPr bwMode="auto">
          <a:xfrm>
            <a:off x="164676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6A8568-F751-4308-9E06-D1789CE09899}" type="datetime'''''4'''''''''''' ''a'''''''''''' ''''''''''''''''''6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 a 6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7"/>
            </p:custDataLst>
          </p:nvPr>
        </p:nvSpPr>
        <p:spPr bwMode="auto">
          <a:xfrm>
            <a:off x="24913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5635D-2B15-4240-9FE4-B16C64F788D5}" type="datetime'''''''''7'''' ''''''''''''''a'''''' ''''''9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 a 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tângulo 21"/>
          <p:cNvSpPr/>
          <p:nvPr>
            <p:custDataLst>
              <p:tags r:id="rId8"/>
            </p:custDataLst>
          </p:nvPr>
        </p:nvSpPr>
        <p:spPr bwMode="auto">
          <a:xfrm>
            <a:off x="3230033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8437B-67D4-4FD4-8D75-B066FF6A8933}" type="datetime'''''''''''1''''0'''''''''''''''''''' ''''a ''''''''1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 a 1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tângulo 24"/>
          <p:cNvSpPr/>
          <p:nvPr>
            <p:custDataLst>
              <p:tags r:id="rId9"/>
            </p:custDataLst>
          </p:nvPr>
        </p:nvSpPr>
        <p:spPr bwMode="auto">
          <a:xfrm>
            <a:off x="5765800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8CEECA-99C3-43D3-9B68-E1B0EB6E0857}" type="datetime'''28'' ''''''''''''''''''''''''a'''' 5''''''''''''9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 a 5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tângulo 22"/>
          <p:cNvSpPr/>
          <p:nvPr>
            <p:custDataLst>
              <p:tags r:id="rId10"/>
            </p:custDataLst>
          </p:nvPr>
        </p:nvSpPr>
        <p:spPr bwMode="auto">
          <a:xfrm>
            <a:off x="4074584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68AC62-F74C-410B-96CD-179E252D0B85}" type="datetime'''''1''4'' ''''a'''''' 2''''''''''''''''''''''''''''''''''0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 a 2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11"/>
            </p:custDataLst>
          </p:nvPr>
        </p:nvSpPr>
        <p:spPr bwMode="auto">
          <a:xfrm>
            <a:off x="49212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D8F46F-6736-4853-8CEB-48A31003C86D}" type="datetime'2''1'' ''''''''''''''a'''''''''''' ''''''''''''''2''''7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 a 27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Retângulo 25"/>
          <p:cNvSpPr/>
          <p:nvPr>
            <p:custDataLst>
              <p:tags r:id="rId12"/>
            </p:custDataLst>
          </p:nvPr>
        </p:nvSpPr>
        <p:spPr bwMode="auto">
          <a:xfrm>
            <a:off x="66103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F68D8E-EB46-4A6E-BA3D-49A7A0CE52DA}" type="datetime'''''''''6''0'' a ''''9''''''''''''0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 a 9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13"/>
            </p:custDataLst>
          </p:nvPr>
        </p:nvSpPr>
        <p:spPr bwMode="auto">
          <a:xfrm>
            <a:off x="7622118" y="5842001"/>
            <a:ext cx="334433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ADD026-BF2E-4058-BAB9-A0F824225104}" type="datetime'9''''''''''''''''''0''''''+''''''''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+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660401" y="3765552"/>
            <a:ext cx="7457017" cy="370417"/>
          </a:xfrm>
          <a:prstGeom prst="rect">
            <a:avLst/>
          </a:prstGeom>
          <a:solidFill>
            <a:srgbClr val="28008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Tarifa média (RS) vendida por antecedência de compra (dias antes da compra)</a:t>
            </a:r>
          </a:p>
        </p:txBody>
      </p:sp>
      <p:graphicFrame>
        <p:nvGraphicFramePr>
          <p:cNvPr id="103" name="Chart 3"/>
          <p:cNvGraphicFramePr/>
          <p:nvPr>
            <p:custDataLst>
              <p:tags r:id="rId14"/>
            </p:custDataLst>
          </p:nvPr>
        </p:nvGraphicFramePr>
        <p:xfrm>
          <a:off x="9804400" y="1509184"/>
          <a:ext cx="1695451" cy="467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3" name="Retângulo 72"/>
          <p:cNvSpPr/>
          <p:nvPr>
            <p:custDataLst>
              <p:tags r:id="rId15"/>
            </p:custDataLst>
          </p:nvPr>
        </p:nvSpPr>
        <p:spPr bwMode="auto">
          <a:xfrm>
            <a:off x="8775700" y="54991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59C24-C77A-4565-8BEA-D3D539625F2D}" type="datetime'1''''''''''''''''.3''0''''0'''' ''''a'' ''''''''1.''''4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300 a 1.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tângulo 49"/>
          <p:cNvSpPr/>
          <p:nvPr>
            <p:custDataLst>
              <p:tags r:id="rId16"/>
            </p:custDataLst>
          </p:nvPr>
        </p:nvSpPr>
        <p:spPr bwMode="auto">
          <a:xfrm>
            <a:off x="9076269" y="19960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F11528-1847-4A3B-AB6E-36EAA1512658}" type="datetime'''2''0''''''''''''''0'''''' a'''''' ''''''3''''''''0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 a 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17"/>
            </p:custDataLst>
          </p:nvPr>
        </p:nvSpPr>
        <p:spPr bwMode="auto">
          <a:xfrm>
            <a:off x="9254069" y="1676400"/>
            <a:ext cx="5461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861CDE-121E-465D-B5F0-9051C1CFADEC}" type="datetime'''''''''0'''''' ''''''''a'''''' ''''''''2''''''''''0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 a 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tângulo 50"/>
          <p:cNvSpPr/>
          <p:nvPr>
            <p:custDataLst>
              <p:tags r:id="rId18"/>
            </p:custDataLst>
          </p:nvPr>
        </p:nvSpPr>
        <p:spPr bwMode="auto">
          <a:xfrm>
            <a:off x="9076269" y="23135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8F74D8-660E-42F2-B54D-8FFE49A90C7C}" type="datetime'''''''3''''00'''''''''' ''''''''''''''''a'''' ''''''40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0 a 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tângulo 53"/>
          <p:cNvSpPr/>
          <p:nvPr>
            <p:custDataLst>
              <p:tags r:id="rId19"/>
            </p:custDataLst>
          </p:nvPr>
        </p:nvSpPr>
        <p:spPr bwMode="auto">
          <a:xfrm>
            <a:off x="9076269" y="29506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072653-BA05-42A2-88ED-873544CC0DAE}" type="datetime'5''''''0''0 ''''a'''''''''''''' ''''''''''6''0''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 a 6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tângulo 51"/>
          <p:cNvSpPr/>
          <p:nvPr>
            <p:custDataLst>
              <p:tags r:id="rId20"/>
            </p:custDataLst>
          </p:nvPr>
        </p:nvSpPr>
        <p:spPr bwMode="auto">
          <a:xfrm>
            <a:off x="9076269" y="26331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E33A0F-008F-4553-B8A9-60DC9F722532}" type="datetime'4''''00'''' ''''a'''''''''''''''''' ''''5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0 a 5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tângulo 54"/>
          <p:cNvSpPr/>
          <p:nvPr>
            <p:custDataLst>
              <p:tags r:id="rId21"/>
            </p:custDataLst>
          </p:nvPr>
        </p:nvSpPr>
        <p:spPr bwMode="auto">
          <a:xfrm>
            <a:off x="9076269" y="32702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DDAA695-02CD-42A9-9DF0-61B88D334772}" type="datetime'6''''''''0''''0 a'''''' 7''''''''''0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0 a 7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tângulo 52"/>
          <p:cNvSpPr/>
          <p:nvPr>
            <p:custDataLst>
              <p:tags r:id="rId22"/>
            </p:custDataLst>
          </p:nvPr>
        </p:nvSpPr>
        <p:spPr bwMode="auto">
          <a:xfrm>
            <a:off x="9076269" y="35877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19122F-8C63-4027-853A-1660C37381C4}" type="datetime'''''7''''0''0'''' ''''''''''a'' ''''''''''80''''''''''''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0 a 8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tângulo 55"/>
          <p:cNvSpPr/>
          <p:nvPr>
            <p:custDataLst>
              <p:tags r:id="rId23"/>
            </p:custDataLst>
          </p:nvPr>
        </p:nvSpPr>
        <p:spPr bwMode="auto">
          <a:xfrm>
            <a:off x="9076269" y="390736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A7899A-068C-45C9-A235-177443880B2D}" type="datetime'''''''8''00'' a ''''''''''90''''''''''''''''''''''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0 a 9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tângulo 70"/>
          <p:cNvSpPr/>
          <p:nvPr>
            <p:custDataLst>
              <p:tags r:id="rId24"/>
            </p:custDataLst>
          </p:nvPr>
        </p:nvSpPr>
        <p:spPr bwMode="auto">
          <a:xfrm>
            <a:off x="8775700" y="48619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B00BC3-4AE8-482E-AB32-BC516C118B6C}" type="datetime'''1.100'''''''' ''a'''''''''' ''''''1''.''2''''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100 a 1.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tângulo 56"/>
          <p:cNvSpPr/>
          <p:nvPr>
            <p:custDataLst>
              <p:tags r:id="rId25"/>
            </p:custDataLst>
          </p:nvPr>
        </p:nvSpPr>
        <p:spPr bwMode="auto">
          <a:xfrm>
            <a:off x="8925984" y="4224867"/>
            <a:ext cx="8741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7E5578-254D-4FCD-B402-EB68A9F05359}" type="datetime'''''''''''9''''''''0''''0'' ''a'' 1.''0''0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0 a 1.0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6"/>
            </p:custDataLst>
          </p:nvPr>
        </p:nvSpPr>
        <p:spPr bwMode="auto">
          <a:xfrm>
            <a:off x="8775700" y="45444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D8B051F-6ADC-48CE-BCC2-F69CA4407AFF}" type="datetime'1''''''.''''00''''''0'''' ''''a ''1''''''''.''10''''''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00 a 1.1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tângulo 71"/>
          <p:cNvSpPr/>
          <p:nvPr>
            <p:custDataLst>
              <p:tags r:id="rId27"/>
            </p:custDataLst>
          </p:nvPr>
        </p:nvSpPr>
        <p:spPr bwMode="auto">
          <a:xfrm>
            <a:off x="8775700" y="51816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1D0A6D-3C88-43FB-83CF-51CB868DB720}" type="datetime'''1.2''''''''''''''''0''''0'' ''''''''a'''''' 1.3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200 a 1.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tângulo 73"/>
          <p:cNvSpPr/>
          <p:nvPr>
            <p:custDataLst>
              <p:tags r:id="rId28"/>
            </p:custDataLst>
          </p:nvPr>
        </p:nvSpPr>
        <p:spPr bwMode="auto">
          <a:xfrm>
            <a:off x="9294286" y="5818717"/>
            <a:ext cx="5058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07F0C2B-AD6F-4597-A92E-66AB02446943}" type="datetime'''''1''''''''''''''''''''''.''''4''''''0''''''0''''''+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400+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tângulo 85"/>
          <p:cNvSpPr/>
          <p:nvPr>
            <p:custDataLst>
              <p:tags r:id="rId29"/>
            </p:custDataLst>
          </p:nvPr>
        </p:nvSpPr>
        <p:spPr bwMode="gray">
          <a:xfrm>
            <a:off x="11423651" y="19706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595441B-6F93-4724-9440-7E7E293BA11B}" type="datetime'''''''''''''''''''''2''''''''''9''''''%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tângulo 84"/>
          <p:cNvSpPr/>
          <p:nvPr>
            <p:custDataLst>
              <p:tags r:id="rId30"/>
            </p:custDataLst>
          </p:nvPr>
        </p:nvSpPr>
        <p:spPr bwMode="gray">
          <a:xfrm>
            <a:off x="10680700" y="1651000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538EB5-6FD5-428D-AEC0-1E0FF8FAC46B}" type="datetime'''''''''''''''''''''''''''''14''%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31"/>
            </p:custDataLst>
          </p:nvPr>
        </p:nvSpPr>
        <p:spPr bwMode="gray">
          <a:xfrm>
            <a:off x="10911418" y="22881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4A5F08-580C-48CC-B4E4-C6F6ADDFCD0A}" type="datetime'''''1''''''''9''''''''''''''''''''''''''%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tângulo 87"/>
          <p:cNvSpPr/>
          <p:nvPr>
            <p:custDataLst>
              <p:tags r:id="rId32"/>
            </p:custDataLst>
          </p:nvPr>
        </p:nvSpPr>
        <p:spPr bwMode="gray">
          <a:xfrm>
            <a:off x="10479618" y="26077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C902A8-F314-4283-98E1-68413690FD50}" type="datetime'1''''''''0%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tângulo 88"/>
          <p:cNvSpPr/>
          <p:nvPr>
            <p:custDataLst>
              <p:tags r:id="rId33"/>
            </p:custDataLst>
          </p:nvPr>
        </p:nvSpPr>
        <p:spPr bwMode="gray">
          <a:xfrm>
            <a:off x="10174818" y="292523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869636-C2BE-4675-B2F0-FAF60BE92F18}" type="datetime'''''''''''''''''''4''''''%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tângulo 89"/>
          <p:cNvSpPr/>
          <p:nvPr>
            <p:custDataLst>
              <p:tags r:id="rId34"/>
            </p:custDataLst>
          </p:nvPr>
        </p:nvSpPr>
        <p:spPr bwMode="gray">
          <a:xfrm>
            <a:off x="10168468" y="32448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60EF6A-A1B5-45B0-A13D-1F503B670E7A}" type="datetime'''''''''''''''''''''''''''''''4''''%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tângulo 90"/>
          <p:cNvSpPr/>
          <p:nvPr>
            <p:custDataLst>
              <p:tags r:id="rId35"/>
            </p:custDataLst>
          </p:nvPr>
        </p:nvSpPr>
        <p:spPr bwMode="gray">
          <a:xfrm>
            <a:off x="10155768" y="35623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F3C764-6E72-41C4-8B0B-BFC9814A0D38}" type="datetime'''''''''''''''''''''4''''''''''''''''''''''''%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2" name="Retângulo 91"/>
          <p:cNvSpPr/>
          <p:nvPr>
            <p:custDataLst>
              <p:tags r:id="rId36"/>
            </p:custDataLst>
          </p:nvPr>
        </p:nvSpPr>
        <p:spPr bwMode="gray">
          <a:xfrm>
            <a:off x="10096501" y="38819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9E0DDD-5AAF-4B32-80BB-687A6ACECC45}" type="datetime'''''''3''''''''''%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tângulo 92"/>
          <p:cNvSpPr/>
          <p:nvPr>
            <p:custDataLst>
              <p:tags r:id="rId37"/>
            </p:custDataLst>
          </p:nvPr>
        </p:nvSpPr>
        <p:spPr bwMode="gray">
          <a:xfrm>
            <a:off x="10026652" y="41994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AA203B-9E7E-42D9-9966-5635177E2A6A}" type="datetime'''''''''''''''''''''''''''''''''2%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tângulo 93"/>
          <p:cNvSpPr/>
          <p:nvPr>
            <p:custDataLst>
              <p:tags r:id="rId38"/>
            </p:custDataLst>
          </p:nvPr>
        </p:nvSpPr>
        <p:spPr bwMode="gray">
          <a:xfrm>
            <a:off x="10064752" y="45190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F0A7D0-495F-4A61-B497-0AB18A617ECA}" type="datetime'''''''''''''''2%''''''''''''''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tângulo 94"/>
          <p:cNvSpPr/>
          <p:nvPr>
            <p:custDataLst>
              <p:tags r:id="rId39"/>
            </p:custDataLst>
          </p:nvPr>
        </p:nvSpPr>
        <p:spPr bwMode="gray">
          <a:xfrm>
            <a:off x="10104968" y="48365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3C1958A-C587-4BBD-9913-EBE80DFD6878}" type="datetime'3''''''''''''''''''''''''''''''''''''%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tângulo 95"/>
          <p:cNvSpPr/>
          <p:nvPr>
            <p:custDataLst>
              <p:tags r:id="rId40"/>
            </p:custDataLst>
          </p:nvPr>
        </p:nvSpPr>
        <p:spPr bwMode="gray">
          <a:xfrm>
            <a:off x="10058401" y="51562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C18A33-31BF-48C7-AE7E-3BF70DA32377}" type="datetime'''''''''''''''''''''2''''''''''''''''%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tângulo 96"/>
          <p:cNvSpPr/>
          <p:nvPr>
            <p:custDataLst>
              <p:tags r:id="rId41"/>
            </p:custDataLst>
          </p:nvPr>
        </p:nvSpPr>
        <p:spPr bwMode="gray">
          <a:xfrm>
            <a:off x="9990668" y="54737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A93E9-7246-426A-8DD1-931F90534862}" type="datetime'''''''''''''1''''%''''''''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tângulo 97"/>
          <p:cNvSpPr/>
          <p:nvPr>
            <p:custDataLst>
              <p:tags r:id="rId42"/>
            </p:custDataLst>
          </p:nvPr>
        </p:nvSpPr>
        <p:spPr bwMode="gray">
          <a:xfrm>
            <a:off x="10068985" y="5793318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8BB5A0-FA8F-40A2-A0DE-80B74561EB5F}" type="datetime'''''''''2''''%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1009483" y="1239426"/>
            <a:ext cx="7290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72%</a:t>
            </a:r>
            <a:r>
              <a:rPr lang="pt-BR" sz="1600" dirty="0"/>
              <a:t> das passagens foram vendidas por </a:t>
            </a:r>
            <a:r>
              <a:rPr lang="pt-BR" sz="1600" b="1" dirty="0"/>
              <a:t>menos de R$ 500</a:t>
            </a:r>
            <a:br>
              <a:rPr lang="pt-BR" sz="1600" b="1" dirty="0"/>
            </a:br>
            <a:r>
              <a:rPr lang="pt-BR" sz="1600" b="1" dirty="0"/>
              <a:t>11% </a:t>
            </a:r>
            <a:r>
              <a:rPr lang="pt-BR" sz="1600" dirty="0"/>
              <a:t>das passagens foram vendidas por</a:t>
            </a:r>
            <a:r>
              <a:rPr lang="pt-BR" sz="1600" b="1" dirty="0"/>
              <a:t> mais de R$ 1.000</a:t>
            </a:r>
          </a:p>
          <a:p>
            <a:endParaRPr lang="pt-BR" sz="1600" dirty="0"/>
          </a:p>
          <a:p>
            <a:r>
              <a:rPr lang="pt-BR" sz="1600" dirty="0"/>
              <a:t>Quem compra passagem com </a:t>
            </a:r>
            <a:r>
              <a:rPr lang="pt-BR" sz="1600" b="1" dirty="0"/>
              <a:t>mais de 28 dias de antecedência </a:t>
            </a:r>
            <a:r>
              <a:rPr lang="pt-BR" sz="1600" dirty="0"/>
              <a:t>à data do voo paga, em média, </a:t>
            </a:r>
            <a:r>
              <a:rPr lang="pt-BR" sz="1600" b="1" dirty="0"/>
              <a:t>menos que R$ 342</a:t>
            </a:r>
            <a:endParaRPr lang="pt-BR" sz="1600" dirty="0"/>
          </a:p>
          <a:p>
            <a:endParaRPr lang="pt-BR" sz="1600" dirty="0"/>
          </a:p>
          <a:p>
            <a:r>
              <a:rPr lang="pt-BR" sz="1600" b="1" dirty="0"/>
              <a:t>66% </a:t>
            </a:r>
            <a:r>
              <a:rPr lang="pt-BR" sz="1600" dirty="0"/>
              <a:t>dos passageiros adquirem seu bilhete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a viagem</a:t>
            </a:r>
          </a:p>
        </p:txBody>
      </p:sp>
      <p:sp>
        <p:nvSpPr>
          <p:cNvPr id="105" name="Elipse 104"/>
          <p:cNvSpPr/>
          <p:nvPr/>
        </p:nvSpPr>
        <p:spPr>
          <a:xfrm>
            <a:off x="601013" y="1327575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6" name="Elipse 105"/>
          <p:cNvSpPr/>
          <p:nvPr/>
        </p:nvSpPr>
        <p:spPr>
          <a:xfrm>
            <a:off x="601013" y="2085369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7" name="Elipse 106"/>
          <p:cNvSpPr/>
          <p:nvPr/>
        </p:nvSpPr>
        <p:spPr>
          <a:xfrm>
            <a:off x="601013" y="2785366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>
                <a:solidFill>
                  <a:schemeClr val="bg1"/>
                </a:solidFill>
              </a:rPr>
              <a:t>3</a:t>
            </a: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58" name="Retângulo 57"/>
          <p:cNvSpPr/>
          <p:nvPr/>
        </p:nvSpPr>
        <p:spPr>
          <a:xfrm>
            <a:off x="8857611" y="962029"/>
            <a:ext cx="3162503" cy="371343"/>
          </a:xfrm>
          <a:prstGeom prst="rect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Preço (R$) | Porcentagem de vendas </a:t>
            </a:r>
          </a:p>
        </p:txBody>
      </p:sp>
      <p:sp>
        <p:nvSpPr>
          <p:cNvPr id="60" name="CaixaDeTexto 59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mai;/19 </a:t>
            </a:r>
          </a:p>
        </p:txBody>
      </p:sp>
      <p:sp>
        <p:nvSpPr>
          <p:cNvPr id="3" name="Elipse 2"/>
          <p:cNvSpPr/>
          <p:nvPr/>
        </p:nvSpPr>
        <p:spPr>
          <a:xfrm>
            <a:off x="233531" y="1053843"/>
            <a:ext cx="6604592" cy="916775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Elipse 58"/>
          <p:cNvSpPr/>
          <p:nvPr/>
        </p:nvSpPr>
        <p:spPr>
          <a:xfrm>
            <a:off x="8294160" y="4372562"/>
            <a:ext cx="2872316" cy="1759181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530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Slide do think-cell" r:id="rId45" imgW="421" imgH="423" progId="TCLayout.ActiveDocument.1">
                  <p:embed/>
                </p:oleObj>
              </mc:Choice>
              <mc:Fallback>
                <p:oleObj name="Slide do think-cell" r:id="rId4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b="1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1"/>
          </p:nvPr>
        </p:nvSpPr>
        <p:spPr>
          <a:xfrm>
            <a:off x="482445" y="264216"/>
            <a:ext cx="11904443" cy="806223"/>
          </a:xfrm>
        </p:spPr>
        <p:txBody>
          <a:bodyPr/>
          <a:lstStyle/>
          <a:p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Perfil de emissão – Vendas: SALVADOR, PORTO SEGURO E ILHÉUS</a:t>
            </a:r>
            <a:endParaRPr lang="pt-BR" sz="2800" kern="1200" baseline="30000" dirty="0">
              <a:solidFill>
                <a:schemeClr val="tx1"/>
              </a:solidFill>
              <a:latin typeface="Latam Sans" panose="020B0505030403020204" pitchFamily="34" charset="0"/>
            </a:endParaRP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sz="1067" dirty="0"/>
              <a:t>LATAM Airlines Brasil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60" name="Chart 3"/>
          <p:cNvGraphicFramePr/>
          <p:nvPr>
            <p:custDataLst>
              <p:tags r:id="rId4"/>
            </p:custDataLst>
          </p:nvPr>
        </p:nvGraphicFramePr>
        <p:xfrm>
          <a:off x="499533" y="4392085"/>
          <a:ext cx="7823200" cy="149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6" name="Retângulo 25"/>
          <p:cNvSpPr/>
          <p:nvPr>
            <p:custDataLst>
              <p:tags r:id="rId5"/>
            </p:custDataLst>
          </p:nvPr>
        </p:nvSpPr>
        <p:spPr bwMode="auto">
          <a:xfrm>
            <a:off x="66103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F68D8E-EB46-4A6E-BA3D-49A7A0CE52DA}" type="datetime'''''''''6''0'' a ''''9''''''''''''0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 a 9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tângulo 8"/>
          <p:cNvSpPr/>
          <p:nvPr>
            <p:custDataLst>
              <p:tags r:id="rId6"/>
            </p:custDataLst>
          </p:nvPr>
        </p:nvSpPr>
        <p:spPr bwMode="auto">
          <a:xfrm>
            <a:off x="8022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AF296-38DA-4F52-A1D3-A2D461A46F03}" type="datetime'''''''0'''''''''''''''''''''' a'''' ''''''''''''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 a 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7"/>
            </p:custDataLst>
          </p:nvPr>
        </p:nvSpPr>
        <p:spPr bwMode="auto">
          <a:xfrm>
            <a:off x="49212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D8F46F-6736-4853-8CEB-48A31003C86D}" type="datetime'2''1'' ''''''''''''''a'''''''''''' ''''''''''''''2''''7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 a 27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tângulo 21"/>
          <p:cNvSpPr/>
          <p:nvPr>
            <p:custDataLst>
              <p:tags r:id="rId8"/>
            </p:custDataLst>
          </p:nvPr>
        </p:nvSpPr>
        <p:spPr bwMode="auto">
          <a:xfrm>
            <a:off x="3230033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8437B-67D4-4FD4-8D75-B066FF6A8933}" type="datetime'''''''''''1''''0'''''''''''''''''''' ''''a ''''''''1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 a 1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tângulo 10"/>
          <p:cNvSpPr/>
          <p:nvPr>
            <p:custDataLst>
              <p:tags r:id="rId9"/>
            </p:custDataLst>
          </p:nvPr>
        </p:nvSpPr>
        <p:spPr bwMode="auto">
          <a:xfrm>
            <a:off x="164676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6A8568-F751-4308-9E06-D1789CE09899}" type="datetime'''''4'''''''''''' ''a'''''''''''' ''''''''''''''''''6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 a 6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10"/>
            </p:custDataLst>
          </p:nvPr>
        </p:nvSpPr>
        <p:spPr bwMode="auto">
          <a:xfrm>
            <a:off x="24913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5635D-2B15-4240-9FE4-B16C64F788D5}" type="datetime'''''''''7'''' ''''''''''''''a'''''' ''''''9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 a 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tângulo 22"/>
          <p:cNvSpPr/>
          <p:nvPr>
            <p:custDataLst>
              <p:tags r:id="rId11"/>
            </p:custDataLst>
          </p:nvPr>
        </p:nvSpPr>
        <p:spPr bwMode="auto">
          <a:xfrm>
            <a:off x="4074584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68AC62-F74C-410B-96CD-179E252D0B85}" type="datetime'''''1''4'' ''''a'''''' 2''''''''''''''''''''''''''''''''''0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 a 2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tângulo 24"/>
          <p:cNvSpPr/>
          <p:nvPr>
            <p:custDataLst>
              <p:tags r:id="rId12"/>
            </p:custDataLst>
          </p:nvPr>
        </p:nvSpPr>
        <p:spPr bwMode="auto">
          <a:xfrm>
            <a:off x="5765800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8CEECA-99C3-43D3-9B68-E1B0EB6E0857}" type="datetime'''28'' ''''''''''''''''''''''''a'''' 5''''''''''''9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 a 5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13"/>
            </p:custDataLst>
          </p:nvPr>
        </p:nvSpPr>
        <p:spPr bwMode="auto">
          <a:xfrm>
            <a:off x="7622118" y="5842001"/>
            <a:ext cx="334433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ADD026-BF2E-4058-BAB9-A0F824225104}" type="datetime'9''''''''''''''''''0''''''+''''''''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+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660401" y="3765552"/>
            <a:ext cx="7457017" cy="370417"/>
          </a:xfrm>
          <a:prstGeom prst="rect">
            <a:avLst/>
          </a:prstGeom>
          <a:solidFill>
            <a:srgbClr val="28008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Tarifa média (RS) vendida por antecedência de compra (dias antes da compra)</a:t>
            </a:r>
          </a:p>
        </p:txBody>
      </p:sp>
      <p:graphicFrame>
        <p:nvGraphicFramePr>
          <p:cNvPr id="61" name="Chart 3"/>
          <p:cNvGraphicFramePr/>
          <p:nvPr>
            <p:custDataLst>
              <p:tags r:id="rId14"/>
            </p:custDataLst>
          </p:nvPr>
        </p:nvGraphicFramePr>
        <p:xfrm>
          <a:off x="9804400" y="1509184"/>
          <a:ext cx="1695451" cy="467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92" name="Retângulo 91"/>
          <p:cNvSpPr/>
          <p:nvPr>
            <p:custDataLst>
              <p:tags r:id="rId15"/>
            </p:custDataLst>
          </p:nvPr>
        </p:nvSpPr>
        <p:spPr bwMode="gray">
          <a:xfrm>
            <a:off x="10255252" y="38819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29921F-6ABF-42ED-94A9-CE0805C5E37B}" type="datetime'''''''''''''''''4''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tângulo 49"/>
          <p:cNvSpPr/>
          <p:nvPr>
            <p:custDataLst>
              <p:tags r:id="rId16"/>
            </p:custDataLst>
          </p:nvPr>
        </p:nvSpPr>
        <p:spPr bwMode="auto">
          <a:xfrm>
            <a:off x="9076269" y="19960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F11528-1847-4A3B-AB6E-36EAA1512658}" type="datetime'''2''0''''''''''''''0'''''' a'''''' ''''''3''''''''0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 a 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17"/>
            </p:custDataLst>
          </p:nvPr>
        </p:nvSpPr>
        <p:spPr bwMode="auto">
          <a:xfrm>
            <a:off x="9254069" y="1676400"/>
            <a:ext cx="5461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861CDE-121E-465D-B5F0-9051C1CFADEC}" type="datetime'''''''''0'''''' ''''''''a'''''' ''''''''2''''''''''0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 a 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tângulo 96"/>
          <p:cNvSpPr/>
          <p:nvPr>
            <p:custDataLst>
              <p:tags r:id="rId18"/>
            </p:custDataLst>
          </p:nvPr>
        </p:nvSpPr>
        <p:spPr bwMode="gray">
          <a:xfrm>
            <a:off x="10058401" y="54737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A93E9-7246-426A-8DD1-931F90534862}" type="datetime'''''''''''''1''''%''''''''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tângulo 84"/>
          <p:cNvSpPr/>
          <p:nvPr>
            <p:custDataLst>
              <p:tags r:id="rId19"/>
            </p:custDataLst>
          </p:nvPr>
        </p:nvSpPr>
        <p:spPr bwMode="gray">
          <a:xfrm>
            <a:off x="10869084" y="1651000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517265-1A76-4F49-854A-2CB232F2C887}" type="datetime'''''''''1''''''''''''''''''''''''1''''''''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tângulo 50"/>
          <p:cNvSpPr/>
          <p:nvPr>
            <p:custDataLst>
              <p:tags r:id="rId20"/>
            </p:custDataLst>
          </p:nvPr>
        </p:nvSpPr>
        <p:spPr bwMode="auto">
          <a:xfrm>
            <a:off x="9076269" y="23135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8F74D8-660E-42F2-B54D-8FFE49A90C7C}" type="datetime'''''''3''''00'''''''''' ''''''''''''''''a'''' ''''''40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0 a 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tângulo 51"/>
          <p:cNvSpPr/>
          <p:nvPr>
            <p:custDataLst>
              <p:tags r:id="rId21"/>
            </p:custDataLst>
          </p:nvPr>
        </p:nvSpPr>
        <p:spPr bwMode="auto">
          <a:xfrm>
            <a:off x="9076269" y="26331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E33A0F-008F-4553-B8A9-60DC9F722532}" type="datetime'4''''00'''' ''''a'''''''''''''''''' ''''5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0 a 5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tângulo 55"/>
          <p:cNvSpPr/>
          <p:nvPr>
            <p:custDataLst>
              <p:tags r:id="rId22"/>
            </p:custDataLst>
          </p:nvPr>
        </p:nvSpPr>
        <p:spPr bwMode="auto">
          <a:xfrm>
            <a:off x="9076269" y="390736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A7899A-068C-45C9-A235-177443880B2D}" type="datetime'''''''8''00'' a ''''''''''90''''''''''''''''''''''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0 a 9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tângulo 92"/>
          <p:cNvSpPr/>
          <p:nvPr>
            <p:custDataLst>
              <p:tags r:id="rId23"/>
            </p:custDataLst>
          </p:nvPr>
        </p:nvSpPr>
        <p:spPr bwMode="gray">
          <a:xfrm>
            <a:off x="10191752" y="41994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29337E-CF63-4A31-ACD4-69E65DC6B288}" type="datetime'''''''''''''3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tângulo 53"/>
          <p:cNvSpPr/>
          <p:nvPr>
            <p:custDataLst>
              <p:tags r:id="rId24"/>
            </p:custDataLst>
          </p:nvPr>
        </p:nvSpPr>
        <p:spPr bwMode="auto">
          <a:xfrm>
            <a:off x="9076269" y="29506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072653-BA05-42A2-88ED-873544CC0DAE}" type="datetime'5''''''0''0 ''''a'''''''''''''' ''''''''''6''0''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 a 6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tângulo 54"/>
          <p:cNvSpPr/>
          <p:nvPr>
            <p:custDataLst>
              <p:tags r:id="rId25"/>
            </p:custDataLst>
          </p:nvPr>
        </p:nvSpPr>
        <p:spPr bwMode="auto">
          <a:xfrm>
            <a:off x="9076269" y="32702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DDAA695-02CD-42A9-9DF0-61B88D334772}" type="datetime'6''''''''0''''0 a'''''' 7''''''''''0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0 a 7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tângulo 71"/>
          <p:cNvSpPr/>
          <p:nvPr>
            <p:custDataLst>
              <p:tags r:id="rId26"/>
            </p:custDataLst>
          </p:nvPr>
        </p:nvSpPr>
        <p:spPr bwMode="auto">
          <a:xfrm>
            <a:off x="8775700" y="51816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1D0A6D-3C88-43FB-83CF-51CB868DB720}" type="datetime'''1.2''''''''''''''''0''''0'' ''''''''a'''''' 1.3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200 a 1.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tângulo 52"/>
          <p:cNvSpPr/>
          <p:nvPr>
            <p:custDataLst>
              <p:tags r:id="rId27"/>
            </p:custDataLst>
          </p:nvPr>
        </p:nvSpPr>
        <p:spPr bwMode="auto">
          <a:xfrm>
            <a:off x="9076269" y="35877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19122F-8C63-4027-853A-1660C37381C4}" type="datetime'''''7''''0''0'''' ''''''''''a'' ''''''''''80''''''''''''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0 a 8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tângulo 56"/>
          <p:cNvSpPr/>
          <p:nvPr>
            <p:custDataLst>
              <p:tags r:id="rId28"/>
            </p:custDataLst>
          </p:nvPr>
        </p:nvSpPr>
        <p:spPr bwMode="auto">
          <a:xfrm>
            <a:off x="8925984" y="4224867"/>
            <a:ext cx="8741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7E5578-254D-4FCD-B402-EB68A9F05359}" type="datetime'''''''''''9''''''''0''''0'' ''a'' 1.''0''0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0 a 1.0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9"/>
            </p:custDataLst>
          </p:nvPr>
        </p:nvSpPr>
        <p:spPr bwMode="auto">
          <a:xfrm>
            <a:off x="8775700" y="45444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D8B051F-6ADC-48CE-BCC2-F69CA4407AFF}" type="datetime'1''''''.''''00''''''0'''' ''''a ''1''''''''.''10''''''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00 a 1.1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tângulo 70"/>
          <p:cNvSpPr/>
          <p:nvPr>
            <p:custDataLst>
              <p:tags r:id="rId30"/>
            </p:custDataLst>
          </p:nvPr>
        </p:nvSpPr>
        <p:spPr bwMode="auto">
          <a:xfrm>
            <a:off x="8775700" y="48619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B00BC3-4AE8-482E-AB32-BC516C118B6C}" type="datetime'''1.100'''''''' ''a'''''''''' ''''''1''.''2''''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100 a 1.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tângulo 72"/>
          <p:cNvSpPr/>
          <p:nvPr>
            <p:custDataLst>
              <p:tags r:id="rId31"/>
            </p:custDataLst>
          </p:nvPr>
        </p:nvSpPr>
        <p:spPr bwMode="auto">
          <a:xfrm>
            <a:off x="8775700" y="54991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59C24-C77A-4565-8BEA-D3D539625F2D}" type="datetime'1''''''''''''''''.3''0''''0'''' ''''a'' ''''''''1.''''4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300 a 1.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tângulo 73"/>
          <p:cNvSpPr/>
          <p:nvPr>
            <p:custDataLst>
              <p:tags r:id="rId32"/>
            </p:custDataLst>
          </p:nvPr>
        </p:nvSpPr>
        <p:spPr bwMode="auto">
          <a:xfrm>
            <a:off x="9294286" y="5818717"/>
            <a:ext cx="5058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07F0C2B-AD6F-4597-A92E-66AB02446943}" type="datetime'''''1''''''''''''''''''''''.''''4''''''0''''''0''''''+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400+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tângulo 85"/>
          <p:cNvSpPr/>
          <p:nvPr>
            <p:custDataLst>
              <p:tags r:id="rId33"/>
            </p:custDataLst>
          </p:nvPr>
        </p:nvSpPr>
        <p:spPr bwMode="gray">
          <a:xfrm>
            <a:off x="11235267" y="19706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BBC9E5-A78A-4A12-86E0-56C580E50E72}" type="datetime'''''''''16''''''%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34"/>
            </p:custDataLst>
          </p:nvPr>
        </p:nvSpPr>
        <p:spPr bwMode="gray">
          <a:xfrm>
            <a:off x="11423651" y="22881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B2CEA7-C6FE-4BA6-9409-6915D0DAB68B}" type="datetime'''''''''''''''''''''''18''''''''''''''''''''''''''%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tângulo 87"/>
          <p:cNvSpPr/>
          <p:nvPr>
            <p:custDataLst>
              <p:tags r:id="rId35"/>
            </p:custDataLst>
          </p:nvPr>
        </p:nvSpPr>
        <p:spPr bwMode="gray">
          <a:xfrm>
            <a:off x="10917767" y="26077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3AEBA3F-95B5-48D4-AB03-A975F0525607}" type="datetime'''''1''''''2''''''''''''''''''''''''''''''''''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tângulo 88"/>
          <p:cNvSpPr/>
          <p:nvPr>
            <p:custDataLst>
              <p:tags r:id="rId36"/>
            </p:custDataLst>
          </p:nvPr>
        </p:nvSpPr>
        <p:spPr bwMode="gray">
          <a:xfrm>
            <a:off x="10805583" y="29252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62FBFF-2802-489F-B6D7-6EBA5F7AAA4E}" type="datetime'''1''1''''''''''''''''''''''''''''''''''%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tângulo 89"/>
          <p:cNvSpPr/>
          <p:nvPr>
            <p:custDataLst>
              <p:tags r:id="rId37"/>
            </p:custDataLst>
          </p:nvPr>
        </p:nvSpPr>
        <p:spPr bwMode="gray">
          <a:xfrm>
            <a:off x="10492318" y="32448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99D7A3-DFD3-4DB1-9C70-6FDB869F9DC1}" type="datetime'''''''7''''''''''''''''''''''''''''''''''''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tângulo 90"/>
          <p:cNvSpPr/>
          <p:nvPr>
            <p:custDataLst>
              <p:tags r:id="rId38"/>
            </p:custDataLst>
          </p:nvPr>
        </p:nvSpPr>
        <p:spPr bwMode="gray">
          <a:xfrm>
            <a:off x="10365318" y="35623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1563DC-D4A8-4AA4-A43B-C241E858A58E}" type="datetime'''''''''''''''''''''5''''''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tângulo 93"/>
          <p:cNvSpPr/>
          <p:nvPr>
            <p:custDataLst>
              <p:tags r:id="rId39"/>
            </p:custDataLst>
          </p:nvPr>
        </p:nvSpPr>
        <p:spPr bwMode="gray">
          <a:xfrm>
            <a:off x="10168468" y="45190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22FED2-613D-40E5-9DBD-82DB3DE549EB}" type="datetime'''''''''''3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tângulo 94"/>
          <p:cNvSpPr/>
          <p:nvPr>
            <p:custDataLst>
              <p:tags r:id="rId40"/>
            </p:custDataLst>
          </p:nvPr>
        </p:nvSpPr>
        <p:spPr bwMode="gray">
          <a:xfrm>
            <a:off x="10124018" y="48365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B3DF32-FC6C-4E5E-A850-E2F6CC45DB24}" type="datetime'''''''''''''''''''''''''''''''2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tângulo 95"/>
          <p:cNvSpPr/>
          <p:nvPr>
            <p:custDataLst>
              <p:tags r:id="rId41"/>
            </p:custDataLst>
          </p:nvPr>
        </p:nvSpPr>
        <p:spPr bwMode="gray">
          <a:xfrm>
            <a:off x="10162118" y="51562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1CF6C1-AC4A-48D1-AA13-33F9274B9D45}" type="datetime'''''''''''''''''3''%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tângulo 97"/>
          <p:cNvSpPr/>
          <p:nvPr>
            <p:custDataLst>
              <p:tags r:id="rId42"/>
            </p:custDataLst>
          </p:nvPr>
        </p:nvSpPr>
        <p:spPr bwMode="gray">
          <a:xfrm>
            <a:off x="10278534" y="5793318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8F12F4-D82C-4056-ADB6-7036D746AE4F}" type="datetime'''''''''''''4''''''''''''''''''''''''''''''''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1037092" y="1195683"/>
            <a:ext cx="7290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58% </a:t>
            </a:r>
            <a:r>
              <a:rPr lang="pt-BR" sz="1600" dirty="0"/>
              <a:t>das passagens foram vendidas por </a:t>
            </a:r>
            <a:r>
              <a:rPr lang="pt-BR" sz="1600" b="1" dirty="0"/>
              <a:t>menos de R$ 500</a:t>
            </a:r>
            <a:endParaRPr lang="pt-BR" sz="1600" dirty="0"/>
          </a:p>
          <a:p>
            <a:r>
              <a:rPr lang="pt-BR" sz="1600" b="1" dirty="0"/>
              <a:t>13% </a:t>
            </a:r>
            <a:r>
              <a:rPr lang="pt-BR" sz="1600" dirty="0"/>
              <a:t>das passagens foram vendidas por</a:t>
            </a:r>
            <a:r>
              <a:rPr lang="pt-BR" sz="1600" b="1" dirty="0"/>
              <a:t> mais de R$ 1.000</a:t>
            </a:r>
          </a:p>
          <a:p>
            <a:endParaRPr lang="pt-BR" sz="1600" dirty="0"/>
          </a:p>
          <a:p>
            <a:r>
              <a:rPr lang="pt-BR" sz="1600" dirty="0"/>
              <a:t>Quem compra passagem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o voo paga, em média, </a:t>
            </a:r>
            <a:r>
              <a:rPr lang="pt-BR" sz="1600" b="1" dirty="0"/>
              <a:t>menos que R$ 435</a:t>
            </a:r>
          </a:p>
          <a:p>
            <a:endParaRPr lang="pt-BR" sz="1600" dirty="0"/>
          </a:p>
          <a:p>
            <a:r>
              <a:rPr lang="pt-BR" sz="1600" b="1" dirty="0"/>
              <a:t>48% </a:t>
            </a:r>
            <a:r>
              <a:rPr lang="pt-BR" sz="1600" dirty="0"/>
              <a:t>dos passageiros adquirem seu bilhete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a viagem</a:t>
            </a:r>
          </a:p>
        </p:txBody>
      </p:sp>
      <p:sp>
        <p:nvSpPr>
          <p:cNvPr id="105" name="Elipse 104"/>
          <p:cNvSpPr/>
          <p:nvPr/>
        </p:nvSpPr>
        <p:spPr>
          <a:xfrm>
            <a:off x="601013" y="1327575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6" name="Elipse 105"/>
          <p:cNvSpPr/>
          <p:nvPr/>
        </p:nvSpPr>
        <p:spPr>
          <a:xfrm>
            <a:off x="601013" y="2085369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7" name="Elipse 106"/>
          <p:cNvSpPr/>
          <p:nvPr/>
        </p:nvSpPr>
        <p:spPr>
          <a:xfrm>
            <a:off x="601013" y="2785366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mai;/19 </a:t>
            </a:r>
          </a:p>
        </p:txBody>
      </p:sp>
      <p:sp>
        <p:nvSpPr>
          <p:cNvPr id="62" name="Retângulo 61"/>
          <p:cNvSpPr/>
          <p:nvPr/>
        </p:nvSpPr>
        <p:spPr>
          <a:xfrm>
            <a:off x="8857611" y="962029"/>
            <a:ext cx="3162503" cy="371343"/>
          </a:xfrm>
          <a:prstGeom prst="rect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Preço (R$) | Porcentagem de vendas </a:t>
            </a:r>
          </a:p>
        </p:txBody>
      </p:sp>
      <p:sp>
        <p:nvSpPr>
          <p:cNvPr id="63" name="Elipse 62"/>
          <p:cNvSpPr/>
          <p:nvPr/>
        </p:nvSpPr>
        <p:spPr>
          <a:xfrm>
            <a:off x="233531" y="994209"/>
            <a:ext cx="6604592" cy="916775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4" name="Elipse 63"/>
          <p:cNvSpPr/>
          <p:nvPr/>
        </p:nvSpPr>
        <p:spPr>
          <a:xfrm>
            <a:off x="8294160" y="4372562"/>
            <a:ext cx="2872316" cy="1759181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94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Slide do think-cell" r:id="rId45" imgW="421" imgH="423" progId="TCLayout.ActiveDocument.1">
                  <p:embed/>
                </p:oleObj>
              </mc:Choice>
              <mc:Fallback>
                <p:oleObj name="Slide do think-cell" r:id="rId4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b="1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1"/>
          </p:nvPr>
        </p:nvSpPr>
        <p:spPr>
          <a:xfrm>
            <a:off x="553489" y="233396"/>
            <a:ext cx="11904443" cy="806223"/>
          </a:xfrm>
        </p:spPr>
        <p:txBody>
          <a:bodyPr/>
          <a:lstStyle/>
          <a:p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Perfil de emissão – Vendas: CAMPO GRANDE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sz="1067" dirty="0"/>
              <a:t>LATAM Airlines Brasil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62" name="Chart 3"/>
          <p:cNvGraphicFramePr/>
          <p:nvPr>
            <p:custDataLst>
              <p:tags r:id="rId4"/>
            </p:custDataLst>
          </p:nvPr>
        </p:nvGraphicFramePr>
        <p:xfrm>
          <a:off x="499533" y="4392085"/>
          <a:ext cx="7823200" cy="149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5" name="Retângulo 24"/>
          <p:cNvSpPr/>
          <p:nvPr>
            <p:custDataLst>
              <p:tags r:id="rId5"/>
            </p:custDataLst>
          </p:nvPr>
        </p:nvSpPr>
        <p:spPr bwMode="auto">
          <a:xfrm>
            <a:off x="5765800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8CEECA-99C3-43D3-9B68-E1B0EB6E0857}" type="datetime'''28'' ''''''''''''''''''''''''a'''' 5''''''''''''9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 a 5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6"/>
            </p:custDataLst>
          </p:nvPr>
        </p:nvSpPr>
        <p:spPr bwMode="auto">
          <a:xfrm>
            <a:off x="24913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5635D-2B15-4240-9FE4-B16C64F788D5}" type="datetime'''''''''7'''' ''''''''''''''a'''''' ''''''9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 a 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tângulo 8"/>
          <p:cNvSpPr/>
          <p:nvPr>
            <p:custDataLst>
              <p:tags r:id="rId7"/>
            </p:custDataLst>
          </p:nvPr>
        </p:nvSpPr>
        <p:spPr bwMode="auto">
          <a:xfrm>
            <a:off x="8022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AF296-38DA-4F52-A1D3-A2D461A46F03}" type="datetime'''''''0'''''''''''''''''''''' a'''' ''''''''''''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 a 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Retângulo 25"/>
          <p:cNvSpPr/>
          <p:nvPr>
            <p:custDataLst>
              <p:tags r:id="rId8"/>
            </p:custDataLst>
          </p:nvPr>
        </p:nvSpPr>
        <p:spPr bwMode="auto">
          <a:xfrm>
            <a:off x="66103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F68D8E-EB46-4A6E-BA3D-49A7A0CE52DA}" type="datetime'''''''''6''0'' a ''''9''''''''''''0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 a 9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tângulo 10"/>
          <p:cNvSpPr/>
          <p:nvPr>
            <p:custDataLst>
              <p:tags r:id="rId9"/>
            </p:custDataLst>
          </p:nvPr>
        </p:nvSpPr>
        <p:spPr bwMode="auto">
          <a:xfrm>
            <a:off x="164676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6A8568-F751-4308-9E06-D1789CE09899}" type="datetime'''''4'''''''''''' ''a'''''''''''' ''''''''''''''''''6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 a 6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tângulo 21"/>
          <p:cNvSpPr/>
          <p:nvPr>
            <p:custDataLst>
              <p:tags r:id="rId10"/>
            </p:custDataLst>
          </p:nvPr>
        </p:nvSpPr>
        <p:spPr bwMode="auto">
          <a:xfrm>
            <a:off x="3230033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8437B-67D4-4FD4-8D75-B066FF6A8933}" type="datetime'''''''''''1''''0'''''''''''''''''''' ''''a ''''''''1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 a 1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11"/>
            </p:custDataLst>
          </p:nvPr>
        </p:nvSpPr>
        <p:spPr bwMode="auto">
          <a:xfrm>
            <a:off x="49212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D8F46F-6736-4853-8CEB-48A31003C86D}" type="datetime'2''1'' ''''''''''''''a'''''''''''' ''''''''''''''2''''7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 a 27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tângulo 22"/>
          <p:cNvSpPr/>
          <p:nvPr>
            <p:custDataLst>
              <p:tags r:id="rId12"/>
            </p:custDataLst>
          </p:nvPr>
        </p:nvSpPr>
        <p:spPr bwMode="auto">
          <a:xfrm>
            <a:off x="4074584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68AC62-F74C-410B-96CD-179E252D0B85}" type="datetime'''''1''4'' ''''a'''''' 2''''''''''''''''''''''''''''''''''0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 a 2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13"/>
            </p:custDataLst>
          </p:nvPr>
        </p:nvSpPr>
        <p:spPr bwMode="auto">
          <a:xfrm>
            <a:off x="7622118" y="5842001"/>
            <a:ext cx="334433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ADD026-BF2E-4058-BAB9-A0F824225104}" type="datetime'9''''''''''''''''''0''''''+''''''''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+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660401" y="3765552"/>
            <a:ext cx="7457017" cy="370417"/>
          </a:xfrm>
          <a:prstGeom prst="rect">
            <a:avLst/>
          </a:prstGeom>
          <a:solidFill>
            <a:srgbClr val="28008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Tarifa média (R$) vendida por antecedência de compra (dias antes da compra)</a:t>
            </a:r>
          </a:p>
        </p:txBody>
      </p:sp>
      <p:graphicFrame>
        <p:nvGraphicFramePr>
          <p:cNvPr id="63" name="Chart 3"/>
          <p:cNvGraphicFramePr/>
          <p:nvPr>
            <p:custDataLst>
              <p:tags r:id="rId14"/>
            </p:custDataLst>
          </p:nvPr>
        </p:nvGraphicFramePr>
        <p:xfrm>
          <a:off x="9804400" y="1509184"/>
          <a:ext cx="1695451" cy="467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2" name="Retângulo 51"/>
          <p:cNvSpPr/>
          <p:nvPr>
            <p:custDataLst>
              <p:tags r:id="rId15"/>
            </p:custDataLst>
          </p:nvPr>
        </p:nvSpPr>
        <p:spPr bwMode="auto">
          <a:xfrm>
            <a:off x="9076269" y="26331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E33A0F-008F-4553-B8A9-60DC9F722532}" type="datetime'4''''00'''' ''''a'''''''''''''''''' ''''5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0 a 5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tângulo 49"/>
          <p:cNvSpPr/>
          <p:nvPr>
            <p:custDataLst>
              <p:tags r:id="rId16"/>
            </p:custDataLst>
          </p:nvPr>
        </p:nvSpPr>
        <p:spPr bwMode="auto">
          <a:xfrm>
            <a:off x="9076269" y="19960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F11528-1847-4A3B-AB6E-36EAA1512658}" type="datetime'''2''0''''''''''''''0'''''' a'''''' ''''''3''''''''0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 a 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tângulo 93"/>
          <p:cNvSpPr/>
          <p:nvPr>
            <p:custDataLst>
              <p:tags r:id="rId17"/>
            </p:custDataLst>
          </p:nvPr>
        </p:nvSpPr>
        <p:spPr bwMode="gray">
          <a:xfrm>
            <a:off x="10066868" y="45190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1E5F68-6E96-4DD4-B4E3-E441436A5A48}" type="datetime'''''''''''''''''''''''2%''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18"/>
            </p:custDataLst>
          </p:nvPr>
        </p:nvSpPr>
        <p:spPr bwMode="auto">
          <a:xfrm>
            <a:off x="9254069" y="1676400"/>
            <a:ext cx="5461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861CDE-121E-465D-B5F0-9051C1CFADEC}" type="datetime'''''''''0'''''' ''''''''a'''''' ''''''''2''''''''''0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 a 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tângulo 56"/>
          <p:cNvSpPr/>
          <p:nvPr>
            <p:custDataLst>
              <p:tags r:id="rId19"/>
            </p:custDataLst>
          </p:nvPr>
        </p:nvSpPr>
        <p:spPr bwMode="auto">
          <a:xfrm>
            <a:off x="8925984" y="4224867"/>
            <a:ext cx="8741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7E5578-254D-4FCD-B402-EB68A9F05359}" type="datetime'''''''''''9''''''''0''''0'' ''a'' 1.''0''0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0 a 1.0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tângulo 50"/>
          <p:cNvSpPr/>
          <p:nvPr>
            <p:custDataLst>
              <p:tags r:id="rId20"/>
            </p:custDataLst>
          </p:nvPr>
        </p:nvSpPr>
        <p:spPr bwMode="auto">
          <a:xfrm>
            <a:off x="9076269" y="23135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8F74D8-660E-42F2-B54D-8FFE49A90C7C}" type="datetime'''''''3''''00'''''''''' ''''''''''''''''a'''' ''''''40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0 a 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tângulo 54"/>
          <p:cNvSpPr/>
          <p:nvPr>
            <p:custDataLst>
              <p:tags r:id="rId21"/>
            </p:custDataLst>
          </p:nvPr>
        </p:nvSpPr>
        <p:spPr bwMode="auto">
          <a:xfrm>
            <a:off x="9076269" y="32702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DDAA695-02CD-42A9-9DF0-61B88D334772}" type="datetime'6''''''''0''''0 a'''''' 7''''''''''0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0 a 7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tângulo 55"/>
          <p:cNvSpPr/>
          <p:nvPr>
            <p:custDataLst>
              <p:tags r:id="rId22"/>
            </p:custDataLst>
          </p:nvPr>
        </p:nvSpPr>
        <p:spPr bwMode="auto">
          <a:xfrm>
            <a:off x="9076269" y="390736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A7899A-068C-45C9-A235-177443880B2D}" type="datetime'''''''8''00'' a ''''''''''90''''''''''''''''''''''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0 a 9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tângulo 96"/>
          <p:cNvSpPr/>
          <p:nvPr>
            <p:custDataLst>
              <p:tags r:id="rId23"/>
            </p:custDataLst>
          </p:nvPr>
        </p:nvSpPr>
        <p:spPr bwMode="gray">
          <a:xfrm>
            <a:off x="9997018" y="54737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A93E9-7246-426A-8DD1-931F90534862}" type="datetime'''''''''''''1''''%''''''''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tângulo 53"/>
          <p:cNvSpPr/>
          <p:nvPr>
            <p:custDataLst>
              <p:tags r:id="rId24"/>
            </p:custDataLst>
          </p:nvPr>
        </p:nvSpPr>
        <p:spPr bwMode="auto">
          <a:xfrm>
            <a:off x="9076269" y="29506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072653-BA05-42A2-88ED-873544CC0DAE}" type="datetime'5''''''0''0 ''''a'''''''''''''' ''''''''''6''0''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 a 6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tângulo 52"/>
          <p:cNvSpPr/>
          <p:nvPr>
            <p:custDataLst>
              <p:tags r:id="rId25"/>
            </p:custDataLst>
          </p:nvPr>
        </p:nvSpPr>
        <p:spPr bwMode="auto">
          <a:xfrm>
            <a:off x="9076269" y="35877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19122F-8C63-4027-853A-1660C37381C4}" type="datetime'''''7''''0''0'''' ''''''''''a'' ''''''''''80''''''''''''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0 a 8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6"/>
            </p:custDataLst>
          </p:nvPr>
        </p:nvSpPr>
        <p:spPr bwMode="auto">
          <a:xfrm>
            <a:off x="8775700" y="45444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D8B051F-6ADC-48CE-BCC2-F69CA4407AFF}" type="datetime'1''''''.''''00''''''0'''' ''''a ''1''''''''.''10''''''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00 a 1.1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tângulo 70"/>
          <p:cNvSpPr/>
          <p:nvPr>
            <p:custDataLst>
              <p:tags r:id="rId27"/>
            </p:custDataLst>
          </p:nvPr>
        </p:nvSpPr>
        <p:spPr bwMode="auto">
          <a:xfrm>
            <a:off x="8775700" y="48619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B00BC3-4AE8-482E-AB32-BC516C118B6C}" type="datetime'''1.100'''''''' ''a'''''''''' ''''''1''.''2''''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100 a 1.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tângulo 85"/>
          <p:cNvSpPr/>
          <p:nvPr>
            <p:custDataLst>
              <p:tags r:id="rId28"/>
            </p:custDataLst>
          </p:nvPr>
        </p:nvSpPr>
        <p:spPr bwMode="gray">
          <a:xfrm>
            <a:off x="11423651" y="19706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35D84DC-513F-4CAB-A52A-9339DA155228}" type="datetime'''''''2''''''''''''''3''''''''''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tângulo 84"/>
          <p:cNvSpPr/>
          <p:nvPr>
            <p:custDataLst>
              <p:tags r:id="rId29"/>
            </p:custDataLst>
          </p:nvPr>
        </p:nvSpPr>
        <p:spPr bwMode="gray">
          <a:xfrm>
            <a:off x="10814051" y="1651000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62476E-DB86-4BE1-94E1-7333BE6D05FE}" type="datetime'''''''''1''''''4''''''''''''''''''''%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tângulo 71"/>
          <p:cNvSpPr/>
          <p:nvPr>
            <p:custDataLst>
              <p:tags r:id="rId30"/>
            </p:custDataLst>
          </p:nvPr>
        </p:nvSpPr>
        <p:spPr bwMode="auto">
          <a:xfrm>
            <a:off x="8775700" y="51816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1D0A6D-3C88-43FB-83CF-51CB868DB720}" type="datetime'''1.2''''''''''''''''0''''0'' ''''''''a'''''' 1.3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200 a 1.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tângulo 88"/>
          <p:cNvSpPr/>
          <p:nvPr>
            <p:custDataLst>
              <p:tags r:id="rId31"/>
            </p:custDataLst>
          </p:nvPr>
        </p:nvSpPr>
        <p:spPr bwMode="gray">
          <a:xfrm>
            <a:off x="10589684" y="29252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BE229C-D852-463D-821F-F552C66F354B}" type="datetime'''''1''''''''''''''''''''''''''''''''''''0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tângulo 72"/>
          <p:cNvSpPr/>
          <p:nvPr>
            <p:custDataLst>
              <p:tags r:id="rId32"/>
            </p:custDataLst>
          </p:nvPr>
        </p:nvSpPr>
        <p:spPr bwMode="auto">
          <a:xfrm>
            <a:off x="8775700" y="54991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59C24-C77A-4565-8BEA-D3D539625F2D}" type="datetime'1''''''''''''''''.3''0''''0'''' ''''a'' ''''''''1.''''4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300 a 1.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tângulo 73"/>
          <p:cNvSpPr/>
          <p:nvPr>
            <p:custDataLst>
              <p:tags r:id="rId33"/>
            </p:custDataLst>
          </p:nvPr>
        </p:nvSpPr>
        <p:spPr bwMode="auto">
          <a:xfrm>
            <a:off x="9294286" y="5818717"/>
            <a:ext cx="5058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07F0C2B-AD6F-4597-A92E-66AB02446943}" type="datetime'''''1''''''''''''''''''''''.''''4''''''0''''''0''''''+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400+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2" name="Retângulo 91"/>
          <p:cNvSpPr/>
          <p:nvPr>
            <p:custDataLst>
              <p:tags r:id="rId34"/>
            </p:custDataLst>
          </p:nvPr>
        </p:nvSpPr>
        <p:spPr bwMode="gray">
          <a:xfrm>
            <a:off x="10282768" y="38819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3EE0CE-9870-406E-8B86-ADD7960C6EB7}" type="datetime'''''''5''''''''''''''''''''''''''''''''''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35"/>
            </p:custDataLst>
          </p:nvPr>
        </p:nvSpPr>
        <p:spPr bwMode="gray">
          <a:xfrm>
            <a:off x="10788651" y="22881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980B92-55B2-4073-9A06-6660EE7CDB17}" type="datetime'1''3''''''''''%''''''''''''''''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tângulo 89"/>
          <p:cNvSpPr/>
          <p:nvPr>
            <p:custDataLst>
              <p:tags r:id="rId36"/>
            </p:custDataLst>
          </p:nvPr>
        </p:nvSpPr>
        <p:spPr bwMode="gray">
          <a:xfrm>
            <a:off x="10282768" y="32448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6F600A-A8D2-45DB-A624-BE096B8507AA}" type="datetime'''''''''''''''''''''''''''5''''''''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tângulo 87"/>
          <p:cNvSpPr/>
          <p:nvPr>
            <p:custDataLst>
              <p:tags r:id="rId37"/>
            </p:custDataLst>
          </p:nvPr>
        </p:nvSpPr>
        <p:spPr bwMode="gray">
          <a:xfrm>
            <a:off x="10564284" y="26077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EABBDE-1BC9-4E83-976C-E0510B2F9F62}" type="datetime'''''''''''''''''''''''''''''''''''''1''''0%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tângulo 90"/>
          <p:cNvSpPr/>
          <p:nvPr>
            <p:custDataLst>
              <p:tags r:id="rId38"/>
            </p:custDataLst>
          </p:nvPr>
        </p:nvSpPr>
        <p:spPr bwMode="gray">
          <a:xfrm>
            <a:off x="10325101" y="35623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9F80D06-8F57-4FEF-B803-94D2B4C99386}" type="datetime'''''''''''''''''''''6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tângulo 92"/>
          <p:cNvSpPr/>
          <p:nvPr>
            <p:custDataLst>
              <p:tags r:id="rId39"/>
            </p:custDataLst>
          </p:nvPr>
        </p:nvSpPr>
        <p:spPr bwMode="gray">
          <a:xfrm>
            <a:off x="10202334" y="41994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6DDA88-19EC-42BB-9A81-EE89E84CAD38}" type="datetime'''4''''''''''''''%''''''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tângulo 94"/>
          <p:cNvSpPr/>
          <p:nvPr>
            <p:custDataLst>
              <p:tags r:id="rId40"/>
            </p:custDataLst>
          </p:nvPr>
        </p:nvSpPr>
        <p:spPr bwMode="gray">
          <a:xfrm>
            <a:off x="10043585" y="48365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B3DF32-FC6C-4E5E-A850-E2F6CC45DB24}" type="datetime'''''''''''''''''''''''''''''''2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tângulo 95"/>
          <p:cNvSpPr/>
          <p:nvPr>
            <p:custDataLst>
              <p:tags r:id="rId41"/>
            </p:custDataLst>
          </p:nvPr>
        </p:nvSpPr>
        <p:spPr bwMode="gray">
          <a:xfrm>
            <a:off x="10098618" y="51562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28FC59-F85B-4429-9F9D-2A433630D57C}" type="datetime'2''%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tângulo 97"/>
          <p:cNvSpPr/>
          <p:nvPr>
            <p:custDataLst>
              <p:tags r:id="rId42"/>
            </p:custDataLst>
          </p:nvPr>
        </p:nvSpPr>
        <p:spPr bwMode="gray">
          <a:xfrm>
            <a:off x="10147301" y="5793318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924FCA-A8A6-4D09-8C7F-5602F5F9B855}" type="datetime'''''''''''''''3''''''''''''''''''''''''''''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1031900" y="1257066"/>
            <a:ext cx="7290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60% </a:t>
            </a:r>
            <a:r>
              <a:rPr lang="pt-BR" sz="1600" dirty="0"/>
              <a:t>das passagens foram vendidas por </a:t>
            </a:r>
            <a:r>
              <a:rPr lang="pt-BR" sz="1600" b="1" dirty="0"/>
              <a:t>menos de R$ 500</a:t>
            </a:r>
          </a:p>
          <a:p>
            <a:r>
              <a:rPr lang="pt-BR" sz="1600" b="1" dirty="0"/>
              <a:t>10% </a:t>
            </a:r>
            <a:r>
              <a:rPr lang="pt-BR" sz="1600" dirty="0"/>
              <a:t>das passagens foram vendidas por</a:t>
            </a:r>
            <a:r>
              <a:rPr lang="pt-BR" sz="1600" b="1" dirty="0"/>
              <a:t> mais de R$ 1.000</a:t>
            </a:r>
          </a:p>
          <a:p>
            <a:endParaRPr lang="pt-BR" sz="1600" dirty="0"/>
          </a:p>
          <a:p>
            <a:r>
              <a:rPr lang="pt-BR" sz="1600" dirty="0"/>
              <a:t>Quem compra passagem com </a:t>
            </a:r>
            <a:r>
              <a:rPr lang="pt-BR" sz="1600" b="1" dirty="0"/>
              <a:t>mais de 28 dias de antecedência </a:t>
            </a:r>
            <a:r>
              <a:rPr lang="pt-BR" sz="1600" dirty="0"/>
              <a:t>à data do voo paga, em média, </a:t>
            </a:r>
            <a:r>
              <a:rPr lang="pt-BR" sz="1600" b="1" dirty="0"/>
              <a:t>menos que R$ 372</a:t>
            </a:r>
          </a:p>
          <a:p>
            <a:endParaRPr lang="pt-BR" sz="1600" dirty="0"/>
          </a:p>
          <a:p>
            <a:r>
              <a:rPr lang="pt-BR" sz="1600" b="1" dirty="0"/>
              <a:t>52% </a:t>
            </a:r>
            <a:r>
              <a:rPr lang="pt-BR" sz="1600" dirty="0"/>
              <a:t>dos passageiros adquirem seu bilhete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a viagem</a:t>
            </a:r>
          </a:p>
        </p:txBody>
      </p:sp>
      <p:sp>
        <p:nvSpPr>
          <p:cNvPr id="105" name="Elipse 104"/>
          <p:cNvSpPr/>
          <p:nvPr/>
        </p:nvSpPr>
        <p:spPr>
          <a:xfrm>
            <a:off x="601013" y="1327575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6" name="Elipse 105"/>
          <p:cNvSpPr/>
          <p:nvPr/>
        </p:nvSpPr>
        <p:spPr>
          <a:xfrm>
            <a:off x="601013" y="2085369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7" name="Elipse 106"/>
          <p:cNvSpPr/>
          <p:nvPr/>
        </p:nvSpPr>
        <p:spPr>
          <a:xfrm>
            <a:off x="601013" y="2785366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mai;/19 </a:t>
            </a:r>
          </a:p>
        </p:txBody>
      </p:sp>
      <p:sp>
        <p:nvSpPr>
          <p:cNvPr id="61" name="Retângulo 60"/>
          <p:cNvSpPr/>
          <p:nvPr/>
        </p:nvSpPr>
        <p:spPr>
          <a:xfrm>
            <a:off x="8857611" y="962029"/>
            <a:ext cx="3162503" cy="371343"/>
          </a:xfrm>
          <a:prstGeom prst="rect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Preço (R$) | Porcentagem de vendas </a:t>
            </a:r>
          </a:p>
        </p:txBody>
      </p:sp>
      <p:sp>
        <p:nvSpPr>
          <p:cNvPr id="64" name="Elipse 63"/>
          <p:cNvSpPr/>
          <p:nvPr/>
        </p:nvSpPr>
        <p:spPr>
          <a:xfrm>
            <a:off x="233531" y="1053843"/>
            <a:ext cx="6604592" cy="916775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Elipse 64"/>
          <p:cNvSpPr/>
          <p:nvPr/>
        </p:nvSpPr>
        <p:spPr>
          <a:xfrm>
            <a:off x="8294160" y="4372562"/>
            <a:ext cx="2872316" cy="1759181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152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Slide do think-cell" r:id="rId45" imgW="421" imgH="423" progId="TCLayout.ActiveDocument.1">
                  <p:embed/>
                </p:oleObj>
              </mc:Choice>
              <mc:Fallback>
                <p:oleObj name="Slide do think-cell" r:id="rId4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b="1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1"/>
          </p:nvPr>
        </p:nvSpPr>
        <p:spPr>
          <a:xfrm>
            <a:off x="499533" y="217541"/>
            <a:ext cx="11904443" cy="806223"/>
          </a:xfrm>
        </p:spPr>
        <p:txBody>
          <a:bodyPr/>
          <a:lstStyle/>
          <a:p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Perfil de emissão – Vendas: GOIÂNIA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62" name="Chart 3"/>
          <p:cNvGraphicFramePr/>
          <p:nvPr>
            <p:custDataLst>
              <p:tags r:id="rId4"/>
            </p:custDataLst>
          </p:nvPr>
        </p:nvGraphicFramePr>
        <p:xfrm>
          <a:off x="499533" y="4392085"/>
          <a:ext cx="7823200" cy="149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2" name="Retângulo 11"/>
          <p:cNvSpPr/>
          <p:nvPr>
            <p:custDataLst>
              <p:tags r:id="rId5"/>
            </p:custDataLst>
          </p:nvPr>
        </p:nvSpPr>
        <p:spPr bwMode="auto">
          <a:xfrm>
            <a:off x="24913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5635D-2B15-4240-9FE4-B16C64F788D5}" type="datetime'''''''''7'''' ''''''''''''''a'''''' ''''''9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 a 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tângulo 8"/>
          <p:cNvSpPr/>
          <p:nvPr>
            <p:custDataLst>
              <p:tags r:id="rId6"/>
            </p:custDataLst>
          </p:nvPr>
        </p:nvSpPr>
        <p:spPr bwMode="auto">
          <a:xfrm>
            <a:off x="8022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AF296-38DA-4F52-A1D3-A2D461A46F03}" type="datetime'''''''0'''''''''''''''''''''' a'''' ''''''''''''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 a 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tângulo 10"/>
          <p:cNvSpPr/>
          <p:nvPr>
            <p:custDataLst>
              <p:tags r:id="rId7"/>
            </p:custDataLst>
          </p:nvPr>
        </p:nvSpPr>
        <p:spPr bwMode="auto">
          <a:xfrm>
            <a:off x="164676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6A8568-F751-4308-9E06-D1789CE09899}" type="datetime'''''4'''''''''''' ''a'''''''''''' ''''''''''''''''''6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 a 6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tângulo 22"/>
          <p:cNvSpPr/>
          <p:nvPr>
            <p:custDataLst>
              <p:tags r:id="rId8"/>
            </p:custDataLst>
          </p:nvPr>
        </p:nvSpPr>
        <p:spPr bwMode="auto">
          <a:xfrm>
            <a:off x="4074584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68AC62-F74C-410B-96CD-179E252D0B85}" type="datetime'''''1''4'' ''''a'''''' 2''''''''''''''''''''''''''''''''''0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 a 2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tângulo 21"/>
          <p:cNvSpPr/>
          <p:nvPr>
            <p:custDataLst>
              <p:tags r:id="rId9"/>
            </p:custDataLst>
          </p:nvPr>
        </p:nvSpPr>
        <p:spPr bwMode="auto">
          <a:xfrm>
            <a:off x="3230033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8437B-67D4-4FD4-8D75-B066FF6A8933}" type="datetime'''''''''''1''''0'''''''''''''''''''' ''''a ''''''''1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 a 1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10"/>
            </p:custDataLst>
          </p:nvPr>
        </p:nvSpPr>
        <p:spPr bwMode="auto">
          <a:xfrm>
            <a:off x="49212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D8F46F-6736-4853-8CEB-48A31003C86D}" type="datetime'2''1'' ''''''''''''''a'''''''''''' ''''''''''''''2''''7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 a 27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tângulo 24"/>
          <p:cNvSpPr/>
          <p:nvPr>
            <p:custDataLst>
              <p:tags r:id="rId11"/>
            </p:custDataLst>
          </p:nvPr>
        </p:nvSpPr>
        <p:spPr bwMode="auto">
          <a:xfrm>
            <a:off x="5765800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8CEECA-99C3-43D3-9B68-E1B0EB6E0857}" type="datetime'''28'' ''''''''''''''''''''''''a'''' 5''''''''''''9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 a 5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Retângulo 25"/>
          <p:cNvSpPr/>
          <p:nvPr>
            <p:custDataLst>
              <p:tags r:id="rId12"/>
            </p:custDataLst>
          </p:nvPr>
        </p:nvSpPr>
        <p:spPr bwMode="auto">
          <a:xfrm>
            <a:off x="66103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F68D8E-EB46-4A6E-BA3D-49A7A0CE52DA}" type="datetime'''''''''6''0'' a ''''9''''''''''''0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 a 9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13"/>
            </p:custDataLst>
          </p:nvPr>
        </p:nvSpPr>
        <p:spPr bwMode="auto">
          <a:xfrm>
            <a:off x="7622118" y="5842001"/>
            <a:ext cx="334433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ADD026-BF2E-4058-BAB9-A0F824225104}" type="datetime'9''''''''''''''''''0''''''+''''''''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+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660401" y="3765552"/>
            <a:ext cx="7457017" cy="370417"/>
          </a:xfrm>
          <a:prstGeom prst="rect">
            <a:avLst/>
          </a:prstGeom>
          <a:solidFill>
            <a:srgbClr val="28008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Tarifa média (R$) vendida por antecedência de compra (dias antes da compra)</a:t>
            </a:r>
          </a:p>
        </p:txBody>
      </p:sp>
      <p:graphicFrame>
        <p:nvGraphicFramePr>
          <p:cNvPr id="63" name="Chart 3"/>
          <p:cNvGraphicFramePr/>
          <p:nvPr>
            <p:custDataLst>
              <p:tags r:id="rId14"/>
            </p:custDataLst>
          </p:nvPr>
        </p:nvGraphicFramePr>
        <p:xfrm>
          <a:off x="9804400" y="1509184"/>
          <a:ext cx="1695451" cy="467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89" name="Retângulo 88"/>
          <p:cNvSpPr/>
          <p:nvPr>
            <p:custDataLst>
              <p:tags r:id="rId15"/>
            </p:custDataLst>
          </p:nvPr>
        </p:nvSpPr>
        <p:spPr bwMode="gray">
          <a:xfrm>
            <a:off x="10394953" y="292523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3C9898-5CB8-4B86-BED2-6CB53BDEE01D}" type="datetime'''''''8''''''%''''''''''''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tângulo 72"/>
          <p:cNvSpPr/>
          <p:nvPr>
            <p:custDataLst>
              <p:tags r:id="rId16"/>
            </p:custDataLst>
          </p:nvPr>
        </p:nvSpPr>
        <p:spPr bwMode="auto">
          <a:xfrm>
            <a:off x="8775700" y="54991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59C24-C77A-4565-8BEA-D3D539625F2D}" type="datetime'1''''''''''''''''.3''0''''0'''' ''''a'' ''''''''1.''''4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300 a 1.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tângulo 50"/>
          <p:cNvSpPr/>
          <p:nvPr>
            <p:custDataLst>
              <p:tags r:id="rId17"/>
            </p:custDataLst>
          </p:nvPr>
        </p:nvSpPr>
        <p:spPr bwMode="auto">
          <a:xfrm>
            <a:off x="9076269" y="23135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8F74D8-660E-42F2-B54D-8FFE49A90C7C}" type="datetime'''''''3''''00'''''''''' ''''''''''''''''a'''' ''''''40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0 a 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tângulo 84"/>
          <p:cNvSpPr/>
          <p:nvPr>
            <p:custDataLst>
              <p:tags r:id="rId18"/>
            </p:custDataLst>
          </p:nvPr>
        </p:nvSpPr>
        <p:spPr bwMode="gray">
          <a:xfrm>
            <a:off x="11423651" y="1651000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1C9972-19B5-442E-B649-57D3E88149E9}" type="datetime'''2''5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tângulo 94"/>
          <p:cNvSpPr/>
          <p:nvPr>
            <p:custDataLst>
              <p:tags r:id="rId19"/>
            </p:custDataLst>
          </p:nvPr>
        </p:nvSpPr>
        <p:spPr bwMode="gray">
          <a:xfrm>
            <a:off x="9975852" y="48365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4D4D15-BB63-4933-B410-CC8295361B16}" type="datetime'''''0''''''''''''''''''''''''%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tângulo 54"/>
          <p:cNvSpPr/>
          <p:nvPr>
            <p:custDataLst>
              <p:tags r:id="rId20"/>
            </p:custDataLst>
          </p:nvPr>
        </p:nvSpPr>
        <p:spPr bwMode="auto">
          <a:xfrm>
            <a:off x="9076269" y="32702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DDAA695-02CD-42A9-9DF0-61B88D334772}" type="datetime'6''''''''0''''0 a'''''' 7''''''''''0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0 a 7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tângulo 49"/>
          <p:cNvSpPr/>
          <p:nvPr>
            <p:custDataLst>
              <p:tags r:id="rId21"/>
            </p:custDataLst>
          </p:nvPr>
        </p:nvSpPr>
        <p:spPr bwMode="auto">
          <a:xfrm>
            <a:off x="9076269" y="19960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F11528-1847-4A3B-AB6E-36EAA1512658}" type="datetime'''2''0''''''''''''''0'''''' a'''''' ''''''3''''''''0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 a 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22"/>
            </p:custDataLst>
          </p:nvPr>
        </p:nvSpPr>
        <p:spPr bwMode="auto">
          <a:xfrm>
            <a:off x="9254069" y="1676400"/>
            <a:ext cx="5461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861CDE-121E-465D-B5F0-9051C1CFADEC}" type="datetime'''''''''0'''''' ''''''''a'''''' ''''''''2''''''''''0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 a 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tângulo 53"/>
          <p:cNvSpPr/>
          <p:nvPr>
            <p:custDataLst>
              <p:tags r:id="rId23"/>
            </p:custDataLst>
          </p:nvPr>
        </p:nvSpPr>
        <p:spPr bwMode="auto">
          <a:xfrm>
            <a:off x="9076269" y="29506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072653-BA05-42A2-88ED-873544CC0DAE}" type="datetime'5''''''0''0 ''''a'''''''''''''' ''''''''''6''0''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 a 6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tângulo 71"/>
          <p:cNvSpPr/>
          <p:nvPr>
            <p:custDataLst>
              <p:tags r:id="rId24"/>
            </p:custDataLst>
          </p:nvPr>
        </p:nvSpPr>
        <p:spPr bwMode="auto">
          <a:xfrm>
            <a:off x="8775700" y="51816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1D0A6D-3C88-43FB-83CF-51CB868DB720}" type="datetime'''1.2''''''''''''''''0''''0'' ''''''''a'''''' 1.3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200 a 1.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tângulo 51"/>
          <p:cNvSpPr/>
          <p:nvPr>
            <p:custDataLst>
              <p:tags r:id="rId25"/>
            </p:custDataLst>
          </p:nvPr>
        </p:nvSpPr>
        <p:spPr bwMode="auto">
          <a:xfrm>
            <a:off x="9076269" y="26331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E33A0F-008F-4553-B8A9-60DC9F722532}" type="datetime'4''''00'''' ''''a'''''''''''''''''' ''''5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0 a 5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tângulo 52"/>
          <p:cNvSpPr/>
          <p:nvPr>
            <p:custDataLst>
              <p:tags r:id="rId26"/>
            </p:custDataLst>
          </p:nvPr>
        </p:nvSpPr>
        <p:spPr bwMode="auto">
          <a:xfrm>
            <a:off x="9076269" y="35877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19122F-8C63-4027-853A-1660C37381C4}" type="datetime'''''7''''0''0'''' ''''''''''a'' ''''''''''80''''''''''''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0 a 8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tângulo 55"/>
          <p:cNvSpPr/>
          <p:nvPr>
            <p:custDataLst>
              <p:tags r:id="rId27"/>
            </p:custDataLst>
          </p:nvPr>
        </p:nvSpPr>
        <p:spPr bwMode="auto">
          <a:xfrm>
            <a:off x="9076269" y="390736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A7899A-068C-45C9-A235-177443880B2D}" type="datetime'''''''8''00'' a ''''''''''90''''''''''''''''''''''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0 a 9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tângulo 56"/>
          <p:cNvSpPr/>
          <p:nvPr>
            <p:custDataLst>
              <p:tags r:id="rId28"/>
            </p:custDataLst>
          </p:nvPr>
        </p:nvSpPr>
        <p:spPr bwMode="auto">
          <a:xfrm>
            <a:off x="8925984" y="4224867"/>
            <a:ext cx="8741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7E5578-254D-4FCD-B402-EB68A9F05359}" type="datetime'''''''''''9''''''''0''''0'' ''a'' 1.''0''0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0 a 1.0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9"/>
            </p:custDataLst>
          </p:nvPr>
        </p:nvSpPr>
        <p:spPr bwMode="auto">
          <a:xfrm>
            <a:off x="8775700" y="45444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D8B051F-6ADC-48CE-BCC2-F69CA4407AFF}" type="datetime'1''''''.''''00''''''0'''' ''''a ''1''''''''.''10''''''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00 a 1.1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tângulo 97"/>
          <p:cNvSpPr/>
          <p:nvPr>
            <p:custDataLst>
              <p:tags r:id="rId30"/>
            </p:custDataLst>
          </p:nvPr>
        </p:nvSpPr>
        <p:spPr bwMode="gray">
          <a:xfrm>
            <a:off x="9973734" y="5793318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3DFF89-C70E-4123-9CAB-5E2F048ADADB}" type="datetime'''''0''''''''''''''''''''''''''''''''''''''''%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tângulo 87"/>
          <p:cNvSpPr/>
          <p:nvPr>
            <p:custDataLst>
              <p:tags r:id="rId31"/>
            </p:custDataLst>
          </p:nvPr>
        </p:nvSpPr>
        <p:spPr bwMode="gray">
          <a:xfrm>
            <a:off x="10505018" y="2607734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7FA9B7-C602-4214-B3B1-5A12B849B451}" type="datetime'''''1''''''0''''''''''''''''''''''''''''''''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tângulo 70"/>
          <p:cNvSpPr/>
          <p:nvPr>
            <p:custDataLst>
              <p:tags r:id="rId32"/>
            </p:custDataLst>
          </p:nvPr>
        </p:nvSpPr>
        <p:spPr bwMode="auto">
          <a:xfrm>
            <a:off x="8775700" y="48619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B00BC3-4AE8-482E-AB32-BC516C118B6C}" type="datetime'''1.100'''''''' ''a'''''''''' ''''''1''.''2''''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100 a 1.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tângulo 73"/>
          <p:cNvSpPr/>
          <p:nvPr>
            <p:custDataLst>
              <p:tags r:id="rId33"/>
            </p:custDataLst>
          </p:nvPr>
        </p:nvSpPr>
        <p:spPr bwMode="auto">
          <a:xfrm>
            <a:off x="9294286" y="5818717"/>
            <a:ext cx="5058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07F0C2B-AD6F-4597-A92E-66AB02446943}" type="datetime'''''1''''''''''''''''''''''.''''4''''''0''''''0''''''+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400+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tângulo 85"/>
          <p:cNvSpPr/>
          <p:nvPr>
            <p:custDataLst>
              <p:tags r:id="rId34"/>
            </p:custDataLst>
          </p:nvPr>
        </p:nvSpPr>
        <p:spPr bwMode="gray">
          <a:xfrm>
            <a:off x="11116734" y="19706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430A24-F9B2-4CBE-B0DC-380CE673A5F4}" type="datetime'''''''''''''''''''''''2''0''''''''''''''''''''''''''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35"/>
            </p:custDataLst>
          </p:nvPr>
        </p:nvSpPr>
        <p:spPr bwMode="gray">
          <a:xfrm>
            <a:off x="10712451" y="22881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42D9250-5924-4694-A800-A0E35BF66EC6}" type="datetime'1''''''3''''''''''''''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tângulo 89"/>
          <p:cNvSpPr/>
          <p:nvPr>
            <p:custDataLst>
              <p:tags r:id="rId36"/>
            </p:custDataLst>
          </p:nvPr>
        </p:nvSpPr>
        <p:spPr bwMode="gray">
          <a:xfrm>
            <a:off x="10278534" y="32448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F40A65-6B83-4F77-BE18-43D1665E41A0}" type="datetime'''''''''''''''''6''''''''''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tângulo 90"/>
          <p:cNvSpPr/>
          <p:nvPr>
            <p:custDataLst>
              <p:tags r:id="rId37"/>
            </p:custDataLst>
          </p:nvPr>
        </p:nvSpPr>
        <p:spPr bwMode="gray">
          <a:xfrm>
            <a:off x="10339918" y="35623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E69141-E085-456D-A665-8887455A8AAA}" type="datetime'''''7''''''''''''''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2" name="Retângulo 91"/>
          <p:cNvSpPr/>
          <p:nvPr>
            <p:custDataLst>
              <p:tags r:id="rId38"/>
            </p:custDataLst>
          </p:nvPr>
        </p:nvSpPr>
        <p:spPr bwMode="gray">
          <a:xfrm>
            <a:off x="10181168" y="38819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29921F-6ABF-42ED-94A9-CE0805C5E37B}" type="datetime'''''''''''''''''4''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tângulo 92"/>
          <p:cNvSpPr/>
          <p:nvPr>
            <p:custDataLst>
              <p:tags r:id="rId39"/>
            </p:custDataLst>
          </p:nvPr>
        </p:nvSpPr>
        <p:spPr bwMode="gray">
          <a:xfrm>
            <a:off x="10085918" y="41994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976D86-A6D9-40CC-8297-34E951DC8078}" type="datetime'''''2''''''''''''''%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tângulo 93"/>
          <p:cNvSpPr/>
          <p:nvPr>
            <p:custDataLst>
              <p:tags r:id="rId40"/>
            </p:custDataLst>
          </p:nvPr>
        </p:nvSpPr>
        <p:spPr bwMode="gray">
          <a:xfrm>
            <a:off x="10052052" y="45190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7B75D6-7717-4D88-9387-F921A57D9010}" type="datetime'''''''''''''''''''''''''''''''''''''''2''''''%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tângulo 95"/>
          <p:cNvSpPr/>
          <p:nvPr>
            <p:custDataLst>
              <p:tags r:id="rId41"/>
            </p:custDataLst>
          </p:nvPr>
        </p:nvSpPr>
        <p:spPr bwMode="gray">
          <a:xfrm>
            <a:off x="10033001" y="51562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FC3BC9-2C8A-4B8B-B0B1-754D5A0E9C5D}" type="datetime'''''''''''''''''''''''''''''''''''1''''''%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tângulo 96"/>
          <p:cNvSpPr/>
          <p:nvPr>
            <p:custDataLst>
              <p:tags r:id="rId42"/>
            </p:custDataLst>
          </p:nvPr>
        </p:nvSpPr>
        <p:spPr bwMode="gray">
          <a:xfrm>
            <a:off x="9992785" y="54737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A93E9-7246-426A-8DD1-931F90534862}" type="datetime'''''''''''''1''''%'''''''''''''''''''''''''''''''''''''''">
              <a:rPr lang="pt-BR" altLang="en-US" sz="1867" b="1">
                <a:solidFill>
                  <a:schemeClr val="tx1"/>
                </a:solidFill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1031900" y="1268673"/>
            <a:ext cx="7290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68%</a:t>
            </a:r>
            <a:r>
              <a:rPr lang="pt-BR" sz="1600" dirty="0"/>
              <a:t> das passagens foram vendidas por </a:t>
            </a:r>
            <a:r>
              <a:rPr lang="pt-BR" sz="1600" b="1" dirty="0"/>
              <a:t>menos de R$ 500</a:t>
            </a:r>
          </a:p>
          <a:p>
            <a:r>
              <a:rPr lang="pt-BR" sz="1600" b="1" dirty="0"/>
              <a:t>5% </a:t>
            </a:r>
            <a:r>
              <a:rPr lang="pt-BR" sz="1600" dirty="0"/>
              <a:t>das passagens foram vendidas por</a:t>
            </a:r>
            <a:r>
              <a:rPr lang="pt-BR" sz="1600" b="1" dirty="0"/>
              <a:t> mais de R$ 1.000</a:t>
            </a:r>
          </a:p>
          <a:p>
            <a:endParaRPr lang="pt-BR" sz="1600" dirty="0"/>
          </a:p>
          <a:p>
            <a:r>
              <a:rPr lang="pt-BR" sz="1600" dirty="0"/>
              <a:t>Quem compra passagem com </a:t>
            </a:r>
            <a:r>
              <a:rPr lang="pt-BR" sz="1600" b="1" dirty="0"/>
              <a:t>mais de 28 dias de antecedência </a:t>
            </a:r>
            <a:r>
              <a:rPr lang="pt-BR" sz="1600" dirty="0"/>
              <a:t>à data do voo pagam, em média, </a:t>
            </a:r>
            <a:r>
              <a:rPr lang="pt-BR" sz="1600" b="1" dirty="0"/>
              <a:t>menos que R$ 302</a:t>
            </a:r>
          </a:p>
          <a:p>
            <a:endParaRPr lang="pt-BR" sz="1600" dirty="0"/>
          </a:p>
          <a:p>
            <a:r>
              <a:rPr lang="pt-BR" sz="1600" b="1" dirty="0"/>
              <a:t>51% </a:t>
            </a:r>
            <a:r>
              <a:rPr lang="pt-BR" sz="1600" dirty="0"/>
              <a:t>dos passageiros adquirem seu bilhete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a viagem.</a:t>
            </a:r>
          </a:p>
        </p:txBody>
      </p:sp>
      <p:sp>
        <p:nvSpPr>
          <p:cNvPr id="105" name="Elipse 104"/>
          <p:cNvSpPr/>
          <p:nvPr/>
        </p:nvSpPr>
        <p:spPr>
          <a:xfrm>
            <a:off x="601013" y="1327575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6" name="Elipse 105"/>
          <p:cNvSpPr/>
          <p:nvPr/>
        </p:nvSpPr>
        <p:spPr>
          <a:xfrm>
            <a:off x="601013" y="2085369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7" name="Elipse 106"/>
          <p:cNvSpPr/>
          <p:nvPr/>
        </p:nvSpPr>
        <p:spPr>
          <a:xfrm>
            <a:off x="601013" y="2785366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>
                <a:solidFill>
                  <a:schemeClr val="bg1"/>
                </a:solidFill>
              </a:rPr>
              <a:t>3</a:t>
            </a: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mai;/19 </a:t>
            </a:r>
          </a:p>
        </p:txBody>
      </p:sp>
      <p:sp>
        <p:nvSpPr>
          <p:cNvPr id="60" name="Retângulo 59"/>
          <p:cNvSpPr/>
          <p:nvPr/>
        </p:nvSpPr>
        <p:spPr>
          <a:xfrm>
            <a:off x="8857611" y="962029"/>
            <a:ext cx="3162503" cy="371343"/>
          </a:xfrm>
          <a:prstGeom prst="rect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Preço (R$) | Porcentagem de vendas </a:t>
            </a:r>
          </a:p>
        </p:txBody>
      </p:sp>
      <p:sp>
        <p:nvSpPr>
          <p:cNvPr id="64" name="Elipse 63"/>
          <p:cNvSpPr/>
          <p:nvPr/>
        </p:nvSpPr>
        <p:spPr>
          <a:xfrm>
            <a:off x="233531" y="1053843"/>
            <a:ext cx="6604592" cy="916775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Elipse 64"/>
          <p:cNvSpPr/>
          <p:nvPr/>
        </p:nvSpPr>
        <p:spPr>
          <a:xfrm>
            <a:off x="8294160" y="4372562"/>
            <a:ext cx="2872316" cy="1759181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66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Slide do think-cell" r:id="rId45" imgW="421" imgH="423" progId="TCLayout.ActiveDocument.1">
                  <p:embed/>
                </p:oleObj>
              </mc:Choice>
              <mc:Fallback>
                <p:oleObj name="Slide do think-cell" r:id="rId4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b="1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1"/>
          </p:nvPr>
        </p:nvSpPr>
        <p:spPr>
          <a:xfrm>
            <a:off x="499533" y="217541"/>
            <a:ext cx="11904443" cy="806223"/>
          </a:xfrm>
        </p:spPr>
        <p:txBody>
          <a:bodyPr/>
          <a:lstStyle/>
          <a:p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Perfil de emissão – Vendas: PALMAS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sz="1067" dirty="0"/>
              <a:t>LATAM Airlines Brasil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62" name="Chart 3"/>
          <p:cNvGraphicFramePr/>
          <p:nvPr>
            <p:custDataLst>
              <p:tags r:id="rId4"/>
            </p:custDataLst>
          </p:nvPr>
        </p:nvGraphicFramePr>
        <p:xfrm>
          <a:off x="499533" y="4392085"/>
          <a:ext cx="7823200" cy="149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1" name="Retângulo 10"/>
          <p:cNvSpPr/>
          <p:nvPr>
            <p:custDataLst>
              <p:tags r:id="rId5"/>
            </p:custDataLst>
          </p:nvPr>
        </p:nvSpPr>
        <p:spPr bwMode="auto">
          <a:xfrm>
            <a:off x="164676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6A8568-F751-4308-9E06-D1789CE09899}" type="datetime'''''4'''''''''''' ''a'''''''''''' ''''''''''''''''''6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 a 6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tângulo 8"/>
          <p:cNvSpPr/>
          <p:nvPr>
            <p:custDataLst>
              <p:tags r:id="rId6"/>
            </p:custDataLst>
          </p:nvPr>
        </p:nvSpPr>
        <p:spPr bwMode="auto">
          <a:xfrm>
            <a:off x="8022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AF296-38DA-4F52-A1D3-A2D461A46F03}" type="datetime'''''''0'''''''''''''''''''''' a'''' ''''''''''''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 a 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7"/>
            </p:custDataLst>
          </p:nvPr>
        </p:nvSpPr>
        <p:spPr bwMode="auto">
          <a:xfrm>
            <a:off x="2491317" y="5842001"/>
            <a:ext cx="457200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5635D-2B15-4240-9FE4-B16C64F788D5}" type="datetime'''''''''7'''' ''''''''''''''a'''''' ''''''9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 a 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tângulo 21"/>
          <p:cNvSpPr/>
          <p:nvPr>
            <p:custDataLst>
              <p:tags r:id="rId8"/>
            </p:custDataLst>
          </p:nvPr>
        </p:nvSpPr>
        <p:spPr bwMode="auto">
          <a:xfrm>
            <a:off x="3230033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8437B-67D4-4FD4-8D75-B066FF6A8933}" type="datetime'''''''''''1''''0'''''''''''''''''''' ''''a ''''''''1''''''3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 a 13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tângulo 24"/>
          <p:cNvSpPr/>
          <p:nvPr>
            <p:custDataLst>
              <p:tags r:id="rId9"/>
            </p:custDataLst>
          </p:nvPr>
        </p:nvSpPr>
        <p:spPr bwMode="auto">
          <a:xfrm>
            <a:off x="5765800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8CEECA-99C3-43D3-9B68-E1B0EB6E0857}" type="datetime'''28'' ''''''''''''''''''''''''a'''' 5''''''''''''9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 a 59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tângulo 22"/>
          <p:cNvSpPr/>
          <p:nvPr>
            <p:custDataLst>
              <p:tags r:id="rId10"/>
            </p:custDataLst>
          </p:nvPr>
        </p:nvSpPr>
        <p:spPr bwMode="auto">
          <a:xfrm>
            <a:off x="4074584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68AC62-F74C-410B-96CD-179E252D0B85}" type="datetime'''''1''4'' ''''a'''''' 2''''''''''''''''''''''''''''''''''0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 a 2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tângulo 23"/>
          <p:cNvSpPr/>
          <p:nvPr>
            <p:custDataLst>
              <p:tags r:id="rId11"/>
            </p:custDataLst>
          </p:nvPr>
        </p:nvSpPr>
        <p:spPr bwMode="auto">
          <a:xfrm>
            <a:off x="49212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D8F46F-6736-4853-8CEB-48A31003C86D}" type="datetime'2''1'' ''''''''''''''a'''''''''''' ''''''''''''''2''''7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 a 27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Retângulo 25"/>
          <p:cNvSpPr/>
          <p:nvPr>
            <p:custDataLst>
              <p:tags r:id="rId12"/>
            </p:custDataLst>
          </p:nvPr>
        </p:nvSpPr>
        <p:spPr bwMode="auto">
          <a:xfrm>
            <a:off x="6610351" y="5842001"/>
            <a:ext cx="668867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F68D8E-EB46-4A6E-BA3D-49A7A0CE52DA}" type="datetime'''''''''6''0'' a ''''9''''''''''''0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 a 90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13"/>
            </p:custDataLst>
          </p:nvPr>
        </p:nvSpPr>
        <p:spPr bwMode="auto">
          <a:xfrm>
            <a:off x="7622118" y="5842001"/>
            <a:ext cx="334433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ADD026-BF2E-4058-BAB9-A0F824225104}" type="datetime'9''''''''''''''''''0''''''+'''''''''''''''''''''''''''''">
              <a:rPr lang="pt-BR" altLang="en-US" sz="16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+</a:t>
            </a:fld>
            <a:endParaRPr lang="pt-BR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660401" y="3765552"/>
            <a:ext cx="7457017" cy="370417"/>
          </a:xfrm>
          <a:prstGeom prst="rect">
            <a:avLst/>
          </a:prstGeom>
          <a:solidFill>
            <a:srgbClr val="28008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Tarifa média (R$) vendida por antecedência de compra (dias antes da compra)</a:t>
            </a:r>
          </a:p>
        </p:txBody>
      </p:sp>
      <p:graphicFrame>
        <p:nvGraphicFramePr>
          <p:cNvPr id="63" name="Chart 3"/>
          <p:cNvGraphicFramePr/>
          <p:nvPr>
            <p:custDataLst>
              <p:tags r:id="rId14"/>
            </p:custDataLst>
          </p:nvPr>
        </p:nvGraphicFramePr>
        <p:xfrm>
          <a:off x="9804400" y="1509184"/>
          <a:ext cx="1695451" cy="467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4" name="Retângulo 53"/>
          <p:cNvSpPr/>
          <p:nvPr>
            <p:custDataLst>
              <p:tags r:id="rId15"/>
            </p:custDataLst>
          </p:nvPr>
        </p:nvSpPr>
        <p:spPr bwMode="auto">
          <a:xfrm>
            <a:off x="9076269" y="29506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072653-BA05-42A2-88ED-873544CC0DAE}" type="datetime'5''''''0''0 ''''a'''''''''''''' ''''''''''6''0''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 a 6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tângulo 56"/>
          <p:cNvSpPr/>
          <p:nvPr>
            <p:custDataLst>
              <p:tags r:id="rId16"/>
            </p:custDataLst>
          </p:nvPr>
        </p:nvSpPr>
        <p:spPr bwMode="auto">
          <a:xfrm>
            <a:off x="8925984" y="4224867"/>
            <a:ext cx="8741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7E5578-254D-4FCD-B402-EB68A9F05359}" type="datetime'''''''''''9''''''''0''''0'' ''a'' 1.''0''0''''0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0 a 1.0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tângulo 51"/>
          <p:cNvSpPr/>
          <p:nvPr>
            <p:custDataLst>
              <p:tags r:id="rId17"/>
            </p:custDataLst>
          </p:nvPr>
        </p:nvSpPr>
        <p:spPr bwMode="auto">
          <a:xfrm>
            <a:off x="9076269" y="2633133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E33A0F-008F-4553-B8A9-60DC9F722532}" type="datetime'4''''00'''' ''''a'''''''''''''''''' ''''5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0 a 5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tângulo 71"/>
          <p:cNvSpPr/>
          <p:nvPr>
            <p:custDataLst>
              <p:tags r:id="rId18"/>
            </p:custDataLst>
          </p:nvPr>
        </p:nvSpPr>
        <p:spPr bwMode="auto">
          <a:xfrm>
            <a:off x="8775700" y="51816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1D0A6D-3C88-43FB-83CF-51CB868DB720}" type="datetime'''1.2''''''''''''''''0''''0'' ''''''''a'''''' 1.3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200 a 1.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tângulo 48"/>
          <p:cNvSpPr/>
          <p:nvPr>
            <p:custDataLst>
              <p:tags r:id="rId19"/>
            </p:custDataLst>
          </p:nvPr>
        </p:nvSpPr>
        <p:spPr bwMode="auto">
          <a:xfrm>
            <a:off x="9254069" y="1676400"/>
            <a:ext cx="5461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861CDE-121E-465D-B5F0-9051C1CFADEC}" type="datetime'''''''''0'''''' ''''''''a'''''' ''''''''2''''''''''0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 a 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0"/>
            </p:custDataLst>
          </p:nvPr>
        </p:nvSpPr>
        <p:spPr bwMode="auto">
          <a:xfrm>
            <a:off x="8775700" y="45444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D8B051F-6ADC-48CE-BCC2-F69CA4407AFF}" type="datetime'1''''''.''''00''''''0'''' ''''a ''1''''''''.''10''''''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00 a 1.1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tângulo 49"/>
          <p:cNvSpPr/>
          <p:nvPr>
            <p:custDataLst>
              <p:tags r:id="rId21"/>
            </p:custDataLst>
          </p:nvPr>
        </p:nvSpPr>
        <p:spPr bwMode="auto">
          <a:xfrm>
            <a:off x="9076269" y="19960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F11528-1847-4A3B-AB6E-36EAA1512658}" type="datetime'''2''0''''''''''''''0'''''' a'''''' ''''''3''''''''0''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0 a 3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tângulo 50"/>
          <p:cNvSpPr/>
          <p:nvPr>
            <p:custDataLst>
              <p:tags r:id="rId22"/>
            </p:custDataLst>
          </p:nvPr>
        </p:nvSpPr>
        <p:spPr bwMode="auto">
          <a:xfrm>
            <a:off x="9076269" y="231351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8F74D8-660E-42F2-B54D-8FFE49A90C7C}" type="datetime'''''''3''''00'''''''''' ''''''''''''''''a'''' ''''''40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0 a 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tângulo 55"/>
          <p:cNvSpPr/>
          <p:nvPr>
            <p:custDataLst>
              <p:tags r:id="rId23"/>
            </p:custDataLst>
          </p:nvPr>
        </p:nvSpPr>
        <p:spPr bwMode="auto">
          <a:xfrm>
            <a:off x="9076269" y="3907367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A7899A-068C-45C9-A235-177443880B2D}" type="datetime'''''''8''00'' a ''''''''''90''''''''''''''''''''''''0''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0 a 9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tângulo 90"/>
          <p:cNvSpPr/>
          <p:nvPr>
            <p:custDataLst>
              <p:tags r:id="rId24"/>
            </p:custDataLst>
          </p:nvPr>
        </p:nvSpPr>
        <p:spPr bwMode="gray">
          <a:xfrm>
            <a:off x="10109201" y="35623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9F17B0-656E-4497-845F-E013674889DA}" type="datetime'''''''''''''''''''''''''''''''''''''''''''4''''%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tângulo 54"/>
          <p:cNvSpPr/>
          <p:nvPr>
            <p:custDataLst>
              <p:tags r:id="rId25"/>
            </p:custDataLst>
          </p:nvPr>
        </p:nvSpPr>
        <p:spPr bwMode="auto">
          <a:xfrm>
            <a:off x="9076269" y="32702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DDAA695-02CD-42A9-9DF0-61B88D334772}" type="datetime'6''''''''0''''0 a'''''' 7''''''''''0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0 a 7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tângulo 52"/>
          <p:cNvSpPr/>
          <p:nvPr>
            <p:custDataLst>
              <p:tags r:id="rId26"/>
            </p:custDataLst>
          </p:nvPr>
        </p:nvSpPr>
        <p:spPr bwMode="auto">
          <a:xfrm>
            <a:off x="9076269" y="3587751"/>
            <a:ext cx="723900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319122F-8C63-4027-853A-1660C37381C4}" type="datetime'''''7''''0''0'''' ''''''''''a'' ''''''''''80''''''''''''0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0 a 8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tângulo 89"/>
          <p:cNvSpPr/>
          <p:nvPr>
            <p:custDataLst>
              <p:tags r:id="rId27"/>
            </p:custDataLst>
          </p:nvPr>
        </p:nvSpPr>
        <p:spPr bwMode="gray">
          <a:xfrm>
            <a:off x="10208685" y="3244851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93C46C-C44D-42F5-B92E-4C92CAA6A0BC}" type="datetime'''''''''''''''''''''6''''''''%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tângulo 70"/>
          <p:cNvSpPr/>
          <p:nvPr>
            <p:custDataLst>
              <p:tags r:id="rId28"/>
            </p:custDataLst>
          </p:nvPr>
        </p:nvSpPr>
        <p:spPr bwMode="auto">
          <a:xfrm>
            <a:off x="8775700" y="4861984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B00BC3-4AE8-482E-AB32-BC516C118B6C}" type="datetime'''1.100'''''''' ''a'''''''''' ''''''1''.''2''''''''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100 a 1.2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tângulo 88"/>
          <p:cNvSpPr/>
          <p:nvPr>
            <p:custDataLst>
              <p:tags r:id="rId29"/>
            </p:custDataLst>
          </p:nvPr>
        </p:nvSpPr>
        <p:spPr bwMode="gray">
          <a:xfrm>
            <a:off x="10327220" y="292523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68F1BC-D323-4C4E-918F-653590EFC887}" type="datetime'''''''''''''9''''''''''%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tângulo 72"/>
          <p:cNvSpPr/>
          <p:nvPr>
            <p:custDataLst>
              <p:tags r:id="rId30"/>
            </p:custDataLst>
          </p:nvPr>
        </p:nvSpPr>
        <p:spPr bwMode="auto">
          <a:xfrm>
            <a:off x="8775700" y="5499100"/>
            <a:ext cx="1024467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59C24-C77A-4565-8BEA-D3D539625F2D}" type="datetime'1''''''''''''''''.3''0''''0'''' ''''a'' ''''''''1.''''400''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300 a 1.400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tângulo 73"/>
          <p:cNvSpPr/>
          <p:nvPr>
            <p:custDataLst>
              <p:tags r:id="rId31"/>
            </p:custDataLst>
          </p:nvPr>
        </p:nvSpPr>
        <p:spPr bwMode="auto">
          <a:xfrm>
            <a:off x="9294286" y="5818717"/>
            <a:ext cx="505884" cy="203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07F0C2B-AD6F-4597-A92E-66AB02446943}" type="datetime'''''1''''''''''''''''''''''.''''4''''''0''''''0''''''+'''">
              <a:rPr lang="pt-BR" altLang="en-US" sz="1333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400+</a:t>
            </a:fld>
            <a:endParaRPr lang="pt-BR" sz="1333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tângulo 84"/>
          <p:cNvSpPr/>
          <p:nvPr>
            <p:custDataLst>
              <p:tags r:id="rId32"/>
            </p:custDataLst>
          </p:nvPr>
        </p:nvSpPr>
        <p:spPr bwMode="gray">
          <a:xfrm>
            <a:off x="10047820" y="16510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3D5196-A039-439F-A9D5-2C066663B233}" type="datetime'''''''''''''''''''''''''''2''''''''''''''''%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tângulo 85"/>
          <p:cNvSpPr/>
          <p:nvPr>
            <p:custDataLst>
              <p:tags r:id="rId33"/>
            </p:custDataLst>
          </p:nvPr>
        </p:nvSpPr>
        <p:spPr bwMode="gray">
          <a:xfrm>
            <a:off x="11423651" y="19706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543690-495F-4D16-B76A-4E297483B597}" type="datetime'''''3''''''''''''''''''''''4''''''''''''%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tângulo 96"/>
          <p:cNvSpPr/>
          <p:nvPr>
            <p:custDataLst>
              <p:tags r:id="rId34"/>
            </p:custDataLst>
          </p:nvPr>
        </p:nvSpPr>
        <p:spPr bwMode="gray">
          <a:xfrm>
            <a:off x="10088034" y="54737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85644A-88BD-44EE-B958-ACCD485DF1A6}" type="datetime'''''''''''''''''''''''''''''3''''''''''''''''''''''%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tângulo 86"/>
          <p:cNvSpPr/>
          <p:nvPr>
            <p:custDataLst>
              <p:tags r:id="rId35"/>
            </p:custDataLst>
          </p:nvPr>
        </p:nvSpPr>
        <p:spPr bwMode="gray">
          <a:xfrm>
            <a:off x="10875434" y="2288118"/>
            <a:ext cx="5101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37604C-A4DA-47C9-8E37-1B36E48E864A}" type="datetime'''''''''''''''''21''''''''''''''''%''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tângulo 87"/>
          <p:cNvSpPr/>
          <p:nvPr>
            <p:custDataLst>
              <p:tags r:id="rId36"/>
            </p:custDataLst>
          </p:nvPr>
        </p:nvSpPr>
        <p:spPr bwMode="gray">
          <a:xfrm>
            <a:off x="10325102" y="260773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C08862-3960-419C-9E32-DBD0B859DB8D}" type="datetime'''''''''''''9''''''''''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2" name="Retângulo 91"/>
          <p:cNvSpPr/>
          <p:nvPr>
            <p:custDataLst>
              <p:tags r:id="rId37"/>
            </p:custDataLst>
          </p:nvPr>
        </p:nvSpPr>
        <p:spPr bwMode="gray">
          <a:xfrm>
            <a:off x="10115552" y="38819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29921F-6ABF-42ED-94A9-CE0805C5E37B}" type="datetime'''''''''''''''''4''''%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tângulo 92"/>
          <p:cNvSpPr/>
          <p:nvPr>
            <p:custDataLst>
              <p:tags r:id="rId38"/>
            </p:custDataLst>
          </p:nvPr>
        </p:nvSpPr>
        <p:spPr bwMode="gray">
          <a:xfrm>
            <a:off x="10045701" y="4199467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975AC2E-0DBD-4D45-ADF1-94CAA1DD0A92}" type="datetime'''''''''''''''''''''''''2''''''''''''%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tângulo 93"/>
          <p:cNvSpPr/>
          <p:nvPr>
            <p:custDataLst>
              <p:tags r:id="rId39"/>
            </p:custDataLst>
          </p:nvPr>
        </p:nvSpPr>
        <p:spPr bwMode="gray">
          <a:xfrm>
            <a:off x="10037234" y="45190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B8AB0E-57CB-478E-9ABA-F9CFCFCEAA87}" type="datetime'''''''''''''2''''%''''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tângulo 94"/>
          <p:cNvSpPr/>
          <p:nvPr>
            <p:custDataLst>
              <p:tags r:id="rId40"/>
            </p:custDataLst>
          </p:nvPr>
        </p:nvSpPr>
        <p:spPr bwMode="gray">
          <a:xfrm>
            <a:off x="10024534" y="4836584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B3DF32-FC6C-4E5E-A850-E2F6CC45DB24}" type="datetime'''''''''''''''''''''''''''''''2''%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tângulo 95"/>
          <p:cNvSpPr/>
          <p:nvPr>
            <p:custDataLst>
              <p:tags r:id="rId41"/>
            </p:custDataLst>
          </p:nvPr>
        </p:nvSpPr>
        <p:spPr bwMode="gray">
          <a:xfrm>
            <a:off x="9988552" y="5156200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8E9762-8A3B-4BD6-A1DA-D2E23F814D4A}" type="datetime'''''''''1''''''''''%''''''''''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tângulo 97"/>
          <p:cNvSpPr/>
          <p:nvPr>
            <p:custDataLst>
              <p:tags r:id="rId42"/>
            </p:custDataLst>
          </p:nvPr>
        </p:nvSpPr>
        <p:spPr bwMode="gray">
          <a:xfrm>
            <a:off x="10041468" y="5793318"/>
            <a:ext cx="370417" cy="2561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3867" tIns="0" rIns="3386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D2ED91-3163-4429-AA45-2084C8F50E9B}" type="datetime'''''2''''%'''''''''''">
              <a:rPr lang="pt-BR" altLang="en-US" sz="1867" b="1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pt-BR" sz="1867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1050807" y="1223100"/>
            <a:ext cx="72908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66% </a:t>
            </a:r>
            <a:r>
              <a:rPr lang="pt-BR" sz="1600" dirty="0"/>
              <a:t>das passagens foram vendidas por </a:t>
            </a:r>
            <a:r>
              <a:rPr lang="pt-BR" sz="1600" b="1" dirty="0"/>
              <a:t>menos de R$ 500</a:t>
            </a:r>
            <a:endParaRPr lang="pt-BR" sz="1600" dirty="0"/>
          </a:p>
          <a:p>
            <a:r>
              <a:rPr lang="pt-BR" sz="1600" b="1" dirty="0"/>
              <a:t>10% </a:t>
            </a:r>
            <a:r>
              <a:rPr lang="pt-BR" sz="1600" dirty="0"/>
              <a:t>das passagens foram vendidas por</a:t>
            </a:r>
            <a:r>
              <a:rPr lang="pt-BR" sz="1600" b="1" dirty="0"/>
              <a:t> mais de R$ 1.000</a:t>
            </a:r>
          </a:p>
          <a:p>
            <a:endParaRPr lang="pt-BR" sz="1600" dirty="0"/>
          </a:p>
          <a:p>
            <a:r>
              <a:rPr lang="pt-BR" sz="1600" dirty="0"/>
              <a:t>Quem compra passagem com </a:t>
            </a:r>
            <a:r>
              <a:rPr lang="pt-BR" sz="1600" b="1" dirty="0"/>
              <a:t>mais de 28 dias de antecedência </a:t>
            </a:r>
            <a:r>
              <a:rPr lang="pt-BR" sz="1600" dirty="0"/>
              <a:t>à data do voo paga, em média, </a:t>
            </a:r>
            <a:r>
              <a:rPr lang="pt-BR" sz="1600" b="1" dirty="0"/>
              <a:t>menos que R$ 416</a:t>
            </a:r>
            <a:endParaRPr lang="pt-BR" sz="1600" dirty="0"/>
          </a:p>
          <a:p>
            <a:endParaRPr lang="pt-BR" sz="1600" dirty="0"/>
          </a:p>
          <a:p>
            <a:r>
              <a:rPr lang="pt-BR" sz="1600" b="1" dirty="0"/>
              <a:t>72% </a:t>
            </a:r>
            <a:r>
              <a:rPr lang="pt-BR" sz="1600" dirty="0"/>
              <a:t>dos passageiros adquirem seu bilhete com </a:t>
            </a:r>
            <a:r>
              <a:rPr lang="pt-BR" sz="1600" b="1" dirty="0"/>
              <a:t>mais de 28 dias de antecedência</a:t>
            </a:r>
            <a:r>
              <a:rPr lang="pt-BR" sz="1600" dirty="0"/>
              <a:t> à data da viagem.</a:t>
            </a:r>
          </a:p>
        </p:txBody>
      </p:sp>
      <p:sp>
        <p:nvSpPr>
          <p:cNvPr id="105" name="Elipse 104"/>
          <p:cNvSpPr/>
          <p:nvPr/>
        </p:nvSpPr>
        <p:spPr>
          <a:xfrm>
            <a:off x="601013" y="1327575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6" name="Elipse 105"/>
          <p:cNvSpPr/>
          <p:nvPr/>
        </p:nvSpPr>
        <p:spPr>
          <a:xfrm>
            <a:off x="601013" y="2085369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7" name="Elipse 106"/>
          <p:cNvSpPr/>
          <p:nvPr/>
        </p:nvSpPr>
        <p:spPr>
          <a:xfrm>
            <a:off x="601013" y="2785366"/>
            <a:ext cx="306153" cy="337140"/>
          </a:xfrm>
          <a:prstGeom prst="ellipse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>
                <a:solidFill>
                  <a:schemeClr val="bg1"/>
                </a:solidFill>
              </a:rPr>
              <a:t>3</a:t>
            </a: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59" name="CaixaDeTexto 58"/>
          <p:cNvSpPr txBox="1"/>
          <p:nvPr/>
        </p:nvSpPr>
        <p:spPr>
          <a:xfrm>
            <a:off x="61601" y="6543539"/>
            <a:ext cx="1198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i="1" dirty="0"/>
              <a:t>Fonte: LATAM / Período: mai;/19 </a:t>
            </a:r>
          </a:p>
        </p:txBody>
      </p:sp>
      <p:sp>
        <p:nvSpPr>
          <p:cNvPr id="61" name="Retângulo 60"/>
          <p:cNvSpPr/>
          <p:nvPr/>
        </p:nvSpPr>
        <p:spPr>
          <a:xfrm>
            <a:off x="8857611" y="962029"/>
            <a:ext cx="3162503" cy="371343"/>
          </a:xfrm>
          <a:prstGeom prst="rect">
            <a:avLst/>
          </a:prstGeom>
          <a:solidFill>
            <a:srgbClr val="ED16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 b="1" dirty="0">
                <a:solidFill>
                  <a:schemeClr val="bg1"/>
                </a:solidFill>
              </a:rPr>
              <a:t>Preço (R$) | Porcentagem de vendas </a:t>
            </a:r>
          </a:p>
        </p:txBody>
      </p:sp>
      <p:sp>
        <p:nvSpPr>
          <p:cNvPr id="64" name="Elipse 63"/>
          <p:cNvSpPr/>
          <p:nvPr/>
        </p:nvSpPr>
        <p:spPr>
          <a:xfrm>
            <a:off x="233531" y="1053843"/>
            <a:ext cx="6604592" cy="916775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Elipse 64"/>
          <p:cNvSpPr/>
          <p:nvPr/>
        </p:nvSpPr>
        <p:spPr>
          <a:xfrm>
            <a:off x="8294160" y="4372562"/>
            <a:ext cx="2872316" cy="1759181"/>
          </a:xfrm>
          <a:prstGeom prst="ellipse">
            <a:avLst/>
          </a:prstGeom>
          <a:noFill/>
          <a:ln>
            <a:solidFill>
              <a:srgbClr val="ED1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608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066187" y="2251565"/>
            <a:ext cx="4329904" cy="1794622"/>
          </a:xfrm>
        </p:spPr>
        <p:txBody>
          <a:bodyPr/>
          <a:lstStyle/>
          <a:p>
            <a:r>
              <a:rPr lang="en-US" sz="2000" dirty="0"/>
              <a:t>Obrigada</a:t>
            </a:r>
          </a:p>
        </p:txBody>
      </p:sp>
    </p:spTree>
    <p:extLst>
      <p:ext uri="{BB962C8B-B14F-4D97-AF65-F5344CB8AC3E}">
        <p14:creationId xmlns:p14="http://schemas.microsoft.com/office/powerpoint/2010/main" val="3644969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12"/>
          <p:cNvSpPr txBox="1"/>
          <p:nvPr/>
        </p:nvSpPr>
        <p:spPr>
          <a:xfrm>
            <a:off x="161685" y="1265362"/>
            <a:ext cx="11967304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buClr>
                <a:srgbClr val="ED1650"/>
              </a:buClr>
            </a:pPr>
            <a:r>
              <a:rPr lang="pt-BR" sz="2200" b="1" dirty="0">
                <a:latin typeface="Latam Sans" panose="020B0505030403020204" pitchFamily="34" charset="0"/>
              </a:rPr>
              <a:t>Nesse período, a LATAM focou nas rotas de maior demanda e altas taxas de ocupação, </a:t>
            </a:r>
            <a:br>
              <a:rPr lang="pt-BR" sz="2200" b="1" dirty="0">
                <a:latin typeface="Latam Sans" panose="020B0505030403020204" pitchFamily="34" charset="0"/>
              </a:rPr>
            </a:br>
            <a:r>
              <a:rPr lang="pt-BR" sz="2200" b="1" dirty="0">
                <a:latin typeface="Latam Sans" panose="020B0505030403020204" pitchFamily="34" charset="0"/>
              </a:rPr>
              <a:t>e na gestão eficiente dos custos</a:t>
            </a:r>
          </a:p>
          <a:p>
            <a:pPr marL="0" lvl="1">
              <a:buClr>
                <a:srgbClr val="ED1650"/>
              </a:buClr>
            </a:pPr>
            <a:endParaRPr lang="pt-BR" sz="2200" b="1" dirty="0">
              <a:latin typeface="Latam Sans" panose="020B0505030403020204" pitchFamily="34" charset="0"/>
            </a:endParaRPr>
          </a:p>
          <a:p>
            <a:pPr marL="0" lvl="1">
              <a:buClr>
                <a:srgbClr val="ED1650"/>
              </a:buClr>
            </a:pPr>
            <a:endParaRPr lang="pt-BR" sz="2200" b="1" dirty="0">
              <a:latin typeface="Latam Sans" panose="020B0505030403020204" pitchFamily="34" charset="0"/>
            </a:endParaRPr>
          </a:p>
          <a:p>
            <a:pPr marL="0" lvl="1">
              <a:buClr>
                <a:srgbClr val="ED1650"/>
              </a:buClr>
            </a:pPr>
            <a:endParaRPr lang="pt-BR" sz="2200" b="1" dirty="0">
              <a:latin typeface="Latam Sans" panose="020B0505030403020204" pitchFamily="34" charset="0"/>
            </a:endParaRPr>
          </a:p>
          <a:p>
            <a:pPr marL="285750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2015 e 2016: </a:t>
            </a:r>
          </a:p>
          <a:p>
            <a:pPr marL="851626" lvl="1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b="1" dirty="0">
                <a:latin typeface="Latam Sans" panose="020B0505030403020204" pitchFamily="34" charset="0"/>
              </a:rPr>
              <a:t>contração econômica severa </a:t>
            </a: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- queda do PIB de, respectivamente, 3,8% e 3,6%</a:t>
            </a:r>
          </a:p>
          <a:p>
            <a:pPr marL="285750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endParaRPr lang="pt-BR" sz="2200" dirty="0">
              <a:solidFill>
                <a:srgbClr val="535353"/>
              </a:solidFill>
              <a:latin typeface="Latam Sans" panose="020B0505030403020204" pitchFamily="34" charset="0"/>
            </a:endParaRPr>
          </a:p>
          <a:p>
            <a:pPr marL="285750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Baixa de demanda: </a:t>
            </a:r>
          </a:p>
          <a:p>
            <a:pPr marL="851626" lvl="1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b="1" dirty="0">
                <a:latin typeface="Latam Sans" panose="020B0505030403020204" pitchFamily="34" charset="0"/>
              </a:rPr>
              <a:t>19 meses* consecutivos de queda</a:t>
            </a:r>
          </a:p>
          <a:p>
            <a:pPr marL="171450" indent="-171450">
              <a:buClr>
                <a:srgbClr val="ED1650"/>
              </a:buClr>
              <a:buFont typeface="Wingdings" panose="05000000000000000000" pitchFamily="2" charset="2"/>
              <a:buChar char="§"/>
            </a:pPr>
            <a:endParaRPr lang="pt-BR" sz="2200" dirty="0">
              <a:solidFill>
                <a:srgbClr val="535353"/>
              </a:solidFill>
              <a:latin typeface="Latam Sans" panose="020B0505030403020204" pitchFamily="34" charset="0"/>
            </a:endParaRPr>
          </a:p>
          <a:p>
            <a:pPr marL="285750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Combinação nociva: </a:t>
            </a:r>
          </a:p>
          <a:p>
            <a:pPr marL="851626" lvl="1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2200" b="1" dirty="0">
                <a:latin typeface="Latam Sans" panose="020B0505030403020204" pitchFamily="34" charset="0"/>
              </a:rPr>
              <a:t>dólar </a:t>
            </a: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+ </a:t>
            </a:r>
            <a:r>
              <a:rPr lang="pt-BR" sz="2200" b="1" dirty="0">
                <a:latin typeface="Latam Sans" panose="020B0505030403020204" pitchFamily="34" charset="0"/>
              </a:rPr>
              <a:t>aumento de custos </a:t>
            </a:r>
            <a:r>
              <a:rPr lang="pt-BR" sz="2200" dirty="0">
                <a:solidFill>
                  <a:srgbClr val="535353"/>
                </a:solidFill>
                <a:latin typeface="Latam Sans" panose="020B0505030403020204" pitchFamily="34" charset="0"/>
              </a:rPr>
              <a:t>devido à </a:t>
            </a:r>
            <a:r>
              <a:rPr lang="pt-BR" sz="2200" b="1" dirty="0">
                <a:latin typeface="Latam Sans" panose="020B0505030403020204" pitchFamily="34" charset="0"/>
              </a:rPr>
              <a:t>inflação + complexidades estruturais do setor</a:t>
            </a:r>
          </a:p>
          <a:p>
            <a:pPr marL="0" lvl="1">
              <a:buClr>
                <a:srgbClr val="ED1650"/>
              </a:buClr>
            </a:pPr>
            <a:endParaRPr lang="pt-BR" sz="2200" dirty="0">
              <a:solidFill>
                <a:srgbClr val="280087"/>
              </a:solidFill>
              <a:latin typeface="Latam Sans" panose="020B0505030403020204" pitchFamily="34" charset="0"/>
            </a:endParaRPr>
          </a:p>
          <a:p>
            <a:pPr marL="0" lvl="1">
              <a:buClr>
                <a:srgbClr val="ED1650"/>
              </a:buClr>
            </a:pPr>
            <a:endParaRPr lang="pt-BR" sz="2200" dirty="0">
              <a:solidFill>
                <a:srgbClr val="280087"/>
              </a:solidFill>
              <a:latin typeface="Latam Sans" panose="020B0505030403020204" pitchFamily="34" charset="0"/>
            </a:endParaRPr>
          </a:p>
          <a:p>
            <a:pPr marL="0" lvl="1" algn="ctr">
              <a:buClr>
                <a:srgbClr val="ED1650"/>
              </a:buClr>
            </a:pPr>
            <a:endParaRPr lang="pt-BR" sz="2200" b="1" dirty="0">
              <a:latin typeface="Latam Sans" panose="020B0505030403020204" pitchFamily="34" charset="0"/>
            </a:endParaRPr>
          </a:p>
          <a:p>
            <a:pPr marL="851626" lvl="1" indent="-285750">
              <a:buClr>
                <a:srgbClr val="ED1650"/>
              </a:buClr>
              <a:buFont typeface="Wingdings" panose="05000000000000000000" pitchFamily="2" charset="2"/>
              <a:buChar char="§"/>
            </a:pPr>
            <a:endParaRPr lang="pt-BR" sz="2200" dirty="0">
              <a:solidFill>
                <a:srgbClr val="535353"/>
              </a:solidFill>
              <a:latin typeface="Latam Sans" panose="020B0505030403020204" pitchFamily="34" charset="0"/>
            </a:endParaRP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24696" y="68102"/>
            <a:ext cx="8095220" cy="451745"/>
          </a:xfrm>
        </p:spPr>
        <p:txBody>
          <a:bodyPr anchor="ctr"/>
          <a:lstStyle/>
          <a:p>
            <a:r>
              <a:rPr lang="en-US" sz="2800" dirty="0">
                <a:solidFill>
                  <a:schemeClr val="tx1"/>
                </a:solidFill>
                <a:latin typeface="Latam Sans" panose="020B0505030403020204" pitchFamily="34" charset="0"/>
              </a:rPr>
              <a:t>Cenário desafiador para a aviação</a:t>
            </a:r>
          </a:p>
        </p:txBody>
      </p:sp>
      <p:sp>
        <p:nvSpPr>
          <p:cNvPr id="17" name="CaixaDeTexto 5"/>
          <p:cNvSpPr txBox="1"/>
          <p:nvPr/>
        </p:nvSpPr>
        <p:spPr>
          <a:xfrm>
            <a:off x="-214238" y="6493411"/>
            <a:ext cx="113186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1200" i="1" dirty="0">
                <a:solidFill>
                  <a:srgbClr val="535353"/>
                </a:solidFill>
                <a:latin typeface="Latam Sans" panose="020B0505030403020204" pitchFamily="34" charset="0"/>
              </a:rPr>
              <a:t>* De ago/15 a fev/17</a:t>
            </a:r>
          </a:p>
        </p:txBody>
      </p:sp>
      <p:sp>
        <p:nvSpPr>
          <p:cNvPr id="18" name="Seta para a direita 17"/>
          <p:cNvSpPr/>
          <p:nvPr/>
        </p:nvSpPr>
        <p:spPr>
          <a:xfrm rot="5400000" flipH="1">
            <a:off x="5925637" y="2392343"/>
            <a:ext cx="453505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16543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49360" y="-49288"/>
            <a:ext cx="10290906" cy="640587"/>
          </a:xfrm>
        </p:spPr>
        <p:txBody>
          <a:bodyPr anchor="ctr"/>
          <a:lstStyle/>
          <a:p>
            <a:r>
              <a:rPr lang="pt-BR" sz="2800" dirty="0">
                <a:solidFill>
                  <a:schemeClr val="tx1"/>
                </a:solidFill>
                <a:latin typeface="Latam Sans" panose="020B0505030403020204" pitchFamily="34" charset="0"/>
              </a:rPr>
              <a:t>Custos – Contexto geral</a:t>
            </a:r>
          </a:p>
        </p:txBody>
      </p:sp>
      <p:pic>
        <p:nvPicPr>
          <p:cNvPr id="3" name="Imagem 2"/>
          <p:cNvPicPr/>
          <p:nvPr/>
        </p:nvPicPr>
        <p:blipFill rotWithShape="1">
          <a:blip r:embed="rId3"/>
          <a:srcRect l="10936" t="31688" r="36677" b="26665"/>
          <a:stretch/>
        </p:blipFill>
        <p:spPr bwMode="auto">
          <a:xfrm>
            <a:off x="442715" y="1521438"/>
            <a:ext cx="8529689" cy="35678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CaixaDeTexto 5"/>
          <p:cNvSpPr txBox="1"/>
          <p:nvPr/>
        </p:nvSpPr>
        <p:spPr>
          <a:xfrm rot="16200000">
            <a:off x="8098451" y="4603922"/>
            <a:ext cx="1804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1200" i="1" dirty="0">
                <a:solidFill>
                  <a:srgbClr val="535353"/>
                </a:solidFill>
                <a:latin typeface="Latam Sans" panose="020B0505030403020204" pitchFamily="34" charset="0"/>
              </a:rPr>
              <a:t>Fonte: Abear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9531458" y="1506408"/>
            <a:ext cx="2251670" cy="40318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85725" lvl="1" algn="ctr">
              <a:buClr>
                <a:srgbClr val="ED1650"/>
              </a:buClr>
            </a:pPr>
            <a:endParaRPr lang="pt-BR" sz="1800" dirty="0">
              <a:solidFill>
                <a:schemeClr val="tx1">
                  <a:lumMod val="50000"/>
                  <a:lumOff val="50000"/>
                </a:schemeClr>
              </a:solidFill>
              <a:latin typeface="Latam Sans" panose="020B0505030403020204" pitchFamily="34" charset="0"/>
            </a:endParaRPr>
          </a:p>
          <a:p>
            <a:pPr marL="85725" lvl="1" algn="ctr">
              <a:buClr>
                <a:srgbClr val="ED1650"/>
              </a:buClr>
            </a:pPr>
            <a:r>
              <a:rPr lang="pt-B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Latam Sans" panose="020B0505030403020204" pitchFamily="34" charset="0"/>
              </a:rPr>
              <a:t>2018 versus 2017</a:t>
            </a:r>
            <a:endParaRPr lang="pt-BR" sz="1200" dirty="0">
              <a:solidFill>
                <a:schemeClr val="tx1">
                  <a:lumMod val="65000"/>
                  <a:lumOff val="35000"/>
                </a:schemeClr>
              </a:solidFill>
              <a:latin typeface="Latam Sans" panose="020B0505030403020204" pitchFamily="34" charset="0"/>
            </a:endParaRPr>
          </a:p>
          <a:p>
            <a:pPr marL="85725" lvl="1" algn="ctr">
              <a:buClr>
                <a:srgbClr val="ED1650"/>
              </a:buClr>
            </a:pPr>
            <a:r>
              <a:rPr lang="pt-BR" sz="2000" dirty="0">
                <a:latin typeface="Latam Sans" panose="020B0505030403020204" pitchFamily="34" charset="0"/>
              </a:rPr>
              <a:t>LATAM</a:t>
            </a:r>
          </a:p>
          <a:p>
            <a:pPr marL="85725" lvl="1" algn="ctr">
              <a:buClr>
                <a:srgbClr val="ED1650"/>
              </a:buClr>
            </a:pPr>
            <a:endParaRPr lang="pt-BR" sz="2000" dirty="0">
              <a:solidFill>
                <a:srgbClr val="ED1650"/>
              </a:solidFill>
              <a:latin typeface="Latam Sans" panose="020B0505030403020204" pitchFamily="34" charset="0"/>
            </a:endParaRPr>
          </a:p>
          <a:p>
            <a:pPr marL="85725" lvl="1" algn="ctr">
              <a:buClr>
                <a:srgbClr val="ED1650"/>
              </a:buClr>
            </a:pPr>
            <a:r>
              <a:rPr lang="pt-BR" sz="2000" b="1" dirty="0">
                <a:latin typeface="Latam Sans" panose="020B0505030403020204" pitchFamily="34" charset="0"/>
              </a:rPr>
              <a:t>R$ 2,6 bilhões</a:t>
            </a:r>
          </a:p>
          <a:p>
            <a:pPr marL="85725" lvl="1" algn="ctr">
              <a:buClr>
                <a:srgbClr val="ED1650"/>
              </a:buClr>
            </a:pPr>
            <a:r>
              <a:rPr lang="pt-BR" sz="2000" dirty="0">
                <a:latin typeface="Latam Sans" panose="020B0505030403020204" pitchFamily="34" charset="0"/>
              </a:rPr>
              <a:t>Alta de </a:t>
            </a:r>
            <a:r>
              <a:rPr lang="pt-BR" sz="2000" b="1" dirty="0">
                <a:latin typeface="Latam Sans" panose="020B0505030403020204" pitchFamily="34" charset="0"/>
              </a:rPr>
              <a:t>18%</a:t>
            </a:r>
          </a:p>
          <a:p>
            <a:pPr marL="85725" lvl="1" algn="ctr">
              <a:buClr>
                <a:srgbClr val="ED1650"/>
              </a:buClr>
            </a:pPr>
            <a:r>
              <a:rPr lang="pt-BR" sz="2000" dirty="0">
                <a:latin typeface="Latam Sans" panose="020B0505030403020204" pitchFamily="34" charset="0"/>
              </a:rPr>
              <a:t>nos custos </a:t>
            </a:r>
          </a:p>
          <a:p>
            <a:pPr marL="85725" lvl="1" algn="ctr">
              <a:buClr>
                <a:srgbClr val="ED1650"/>
              </a:buClr>
            </a:pPr>
            <a:endParaRPr lang="pt-BR" sz="1000" dirty="0">
              <a:solidFill>
                <a:srgbClr val="ED1650"/>
              </a:solidFill>
              <a:latin typeface="Latam Sans" panose="020B0505030403020204" pitchFamily="34" charset="0"/>
            </a:endParaRPr>
          </a:p>
          <a:p>
            <a:pPr marL="85725" lvl="1" algn="ctr">
              <a:buClr>
                <a:srgbClr val="ED1650"/>
              </a:buClr>
            </a:pPr>
            <a:endParaRPr lang="pt-BR" sz="2000" dirty="0">
              <a:solidFill>
                <a:srgbClr val="280087"/>
              </a:solidFill>
              <a:latin typeface="Latam Sans" panose="020B0505030403020204" pitchFamily="34" charset="0"/>
            </a:endParaRPr>
          </a:p>
          <a:p>
            <a:pPr marL="85725" lvl="1" algn="ctr">
              <a:buClr>
                <a:srgbClr val="ED1650"/>
              </a:buClr>
            </a:pPr>
            <a:r>
              <a:rPr lang="pt-BR" sz="2000" b="1" dirty="0">
                <a:latin typeface="Latam Sans" panose="020B0505030403020204" pitchFamily="34" charset="0"/>
              </a:rPr>
              <a:t>R$ 1,8 bilhão</a:t>
            </a:r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 </a:t>
            </a:r>
          </a:p>
          <a:p>
            <a:pPr marL="85725" lvl="1" algn="ctr">
              <a:buClr>
                <a:srgbClr val="ED1650"/>
              </a:buClr>
            </a:pPr>
            <a:r>
              <a:rPr lang="pt-BR" sz="2000" dirty="0">
                <a:latin typeface="Latam Sans" panose="020B0505030403020204" pitchFamily="34" charset="0"/>
              </a:rPr>
              <a:t>Aumento do QAV </a:t>
            </a:r>
            <a:r>
              <a:rPr lang="pt-BR" sz="2000" b="1" dirty="0">
                <a:latin typeface="Latam Sans" panose="020B0505030403020204" pitchFamily="34" charset="0"/>
              </a:rPr>
              <a:t>(60%) </a:t>
            </a:r>
            <a:r>
              <a:rPr lang="pt-BR" sz="2000" dirty="0">
                <a:latin typeface="Latam Sans" panose="020B0505030403020204" pitchFamily="34" charset="0"/>
              </a:rPr>
              <a:t>e dólar </a:t>
            </a:r>
            <a:r>
              <a:rPr lang="pt-BR" sz="2000" b="1" dirty="0">
                <a:latin typeface="Latam Sans" panose="020B0505030403020204" pitchFamily="34" charset="0"/>
              </a:rPr>
              <a:t>(40%)</a:t>
            </a:r>
          </a:p>
          <a:p>
            <a:pPr marL="85725" lvl="1" algn="ctr">
              <a:buClr>
                <a:srgbClr val="ED1650"/>
              </a:buClr>
            </a:pPr>
            <a:endParaRPr lang="pt-BR" sz="1800" dirty="0">
              <a:solidFill>
                <a:srgbClr val="ED1650"/>
              </a:solidFill>
              <a:latin typeface="Latam Sans" panose="020B0505030403020204" pitchFamily="34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442715" y="5141415"/>
            <a:ext cx="8397093" cy="954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85725" lvl="1" algn="ctr">
              <a:buClr>
                <a:srgbClr val="ED1650"/>
              </a:buClr>
            </a:pPr>
            <a:r>
              <a:rPr lang="pt-BR" sz="2800" b="1" dirty="0">
                <a:latin typeface="Latam Sans" panose="020B0505030403020204" pitchFamily="34" charset="0"/>
              </a:rPr>
              <a:t>60% dos custos </a:t>
            </a:r>
            <a:r>
              <a:rPr lang="pt-BR" sz="28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de uma empresa aérea são </a:t>
            </a:r>
            <a:r>
              <a:rPr lang="pt-BR" sz="2800" b="1" dirty="0">
                <a:latin typeface="Latam Sans" panose="020B0505030403020204" pitchFamily="34" charset="0"/>
              </a:rPr>
              <a:t>dolarizados</a:t>
            </a:r>
          </a:p>
        </p:txBody>
      </p:sp>
    </p:spTree>
    <p:extLst>
      <p:ext uri="{BB962C8B-B14F-4D97-AF65-F5344CB8AC3E}">
        <p14:creationId xmlns:p14="http://schemas.microsoft.com/office/powerpoint/2010/main" val="3749803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49360" y="-49288"/>
            <a:ext cx="10290906" cy="640587"/>
          </a:xfrm>
        </p:spPr>
        <p:txBody>
          <a:bodyPr anchor="ctr"/>
          <a:lstStyle/>
          <a:p>
            <a:r>
              <a:rPr lang="pt-BR" sz="2800" dirty="0">
                <a:solidFill>
                  <a:schemeClr val="tx1"/>
                </a:solidFill>
                <a:latin typeface="Latam Sans" panose="020B0505030403020204" pitchFamily="34" charset="0"/>
              </a:rPr>
              <a:t>Custos - Combustível</a:t>
            </a:r>
          </a:p>
        </p:txBody>
      </p:sp>
      <p:pic>
        <p:nvPicPr>
          <p:cNvPr id="5122" name="Picture 2" descr="https://lh3.googleusercontent.com/-nVbkCKoPyik/XNHqRh1EmuI/AAAAAAAACIs/d0PjqtXfwzMvnoPoLFbs3Q2M9y_lJQvgQCK8BGAs/s0/2019-05-0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053" y="876300"/>
            <a:ext cx="8102919" cy="5330535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0341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49360" y="-49288"/>
            <a:ext cx="10290906" cy="640587"/>
          </a:xfrm>
        </p:spPr>
        <p:txBody>
          <a:bodyPr anchor="ctr"/>
          <a:lstStyle/>
          <a:p>
            <a:r>
              <a:rPr lang="pt-BR" sz="2800" dirty="0">
                <a:solidFill>
                  <a:schemeClr val="tx1"/>
                </a:solidFill>
                <a:latin typeface="Latam Sans" panose="020B0505030403020204" pitchFamily="34" charset="0"/>
              </a:rPr>
              <a:t>Custos - Dólar</a:t>
            </a:r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3"/>
          <a:srcRect l="5769" t="25104" r="9063" b="17781"/>
          <a:stretch/>
        </p:blipFill>
        <p:spPr>
          <a:xfrm>
            <a:off x="672118" y="1794148"/>
            <a:ext cx="10904198" cy="411135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Retângulo 22"/>
          <p:cNvSpPr/>
          <p:nvPr/>
        </p:nvSpPr>
        <p:spPr>
          <a:xfrm>
            <a:off x="9000938" y="1792034"/>
            <a:ext cx="21920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200" b="1" i="1" dirty="0">
                <a:latin typeface="Latam Sans" panose="020B0505030403020204" pitchFamily="34" charset="0"/>
              </a:rPr>
              <a:t>PERÍODO</a:t>
            </a:r>
            <a:r>
              <a:rPr lang="pt-BR" sz="1200" b="1" i="1" dirty="0">
                <a:solidFill>
                  <a:srgbClr val="ED1650"/>
                </a:solidFill>
                <a:latin typeface="Latam Sans" panose="020B0505030403020204" pitchFamily="34" charset="0"/>
              </a:rPr>
              <a:t> </a:t>
            </a:r>
            <a:r>
              <a:rPr lang="pt-BR" sz="1200" b="1" i="1" dirty="0">
                <a:latin typeface="Latam Sans" panose="020B0505030403020204" pitchFamily="34" charset="0"/>
              </a:rPr>
              <a:t>DE MAIOR CRISE NA  AVIAÇÃO</a:t>
            </a:r>
          </a:p>
        </p:txBody>
      </p:sp>
      <p:sp>
        <p:nvSpPr>
          <p:cNvPr id="9" name="Retângulo 8"/>
          <p:cNvSpPr/>
          <p:nvPr/>
        </p:nvSpPr>
        <p:spPr>
          <a:xfrm>
            <a:off x="334388" y="6470548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000" dirty="0">
                <a:solidFill>
                  <a:srgbClr val="535353"/>
                </a:solidFill>
                <a:latin typeface="Latam Sans" panose="020B0505030403020204" pitchFamily="34" charset="0"/>
              </a:rPr>
              <a:t>Fonte: análise LATAM Airlines baseado em Relatório do Santander Brasil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51888" y="1135539"/>
            <a:ext cx="10905111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85725" lvl="1" algn="ctr">
              <a:buClr>
                <a:srgbClr val="ED1650"/>
              </a:buClr>
            </a:pPr>
            <a:r>
              <a:rPr lang="pt-BR" sz="2400" b="1" u="sng" dirty="0">
                <a:latin typeface="Latam Sans" panose="020B0505030403020204" pitchFamily="34" charset="0"/>
              </a:rPr>
              <a:t>60% DOS CUSTOS </a:t>
            </a:r>
            <a:r>
              <a:rPr lang="pt-BR" sz="2400" dirty="0">
                <a:latin typeface="Latam Sans" panose="020B0505030403020204" pitchFamily="34" charset="0"/>
              </a:rPr>
              <a:t>SÃO IMPACTADOS PELO </a:t>
            </a:r>
            <a:r>
              <a:rPr lang="pt-BR" sz="2400" b="1" u="sng" dirty="0">
                <a:latin typeface="Latam Sans" panose="020B0505030403020204" pitchFamily="34" charset="0"/>
              </a:rPr>
              <a:t>DÓLAR</a:t>
            </a:r>
          </a:p>
        </p:txBody>
      </p:sp>
      <p:sp>
        <p:nvSpPr>
          <p:cNvPr id="2" name="Retângulo 1"/>
          <p:cNvSpPr/>
          <p:nvPr/>
        </p:nvSpPr>
        <p:spPr>
          <a:xfrm>
            <a:off x="9603467" y="2253699"/>
            <a:ext cx="1074058" cy="1578072"/>
          </a:xfrm>
          <a:prstGeom prst="rect">
            <a:avLst/>
          </a:prstGeom>
          <a:solidFill>
            <a:srgbClr val="FFFF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 9"/>
          <p:cNvSpPr/>
          <p:nvPr/>
        </p:nvSpPr>
        <p:spPr>
          <a:xfrm>
            <a:off x="3371127" y="2073252"/>
            <a:ext cx="5506180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pt-BR" sz="2000" i="1" dirty="0">
                <a:latin typeface="Latam Sans" panose="020B0505030403020204" pitchFamily="34" charset="0"/>
              </a:rPr>
              <a:t>Cotação do dólar</a:t>
            </a:r>
          </a:p>
        </p:txBody>
      </p:sp>
    </p:spTree>
    <p:extLst>
      <p:ext uri="{BB962C8B-B14F-4D97-AF65-F5344CB8AC3E}">
        <p14:creationId xmlns:p14="http://schemas.microsoft.com/office/powerpoint/2010/main" val="2238804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49360" y="-49288"/>
            <a:ext cx="10290906" cy="640587"/>
          </a:xfrm>
        </p:spPr>
        <p:txBody>
          <a:bodyPr anchor="ctr"/>
          <a:lstStyle/>
          <a:p>
            <a:r>
              <a:rPr lang="pt-BR" sz="2800" dirty="0">
                <a:solidFill>
                  <a:schemeClr val="tx1"/>
                </a:solidFill>
                <a:latin typeface="Latam Sans" panose="020B0505030403020204" pitchFamily="34" charset="0"/>
              </a:rPr>
              <a:t>Número excessivo de ações judiciais na aviação brasilei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-423511" y="932472"/>
            <a:ext cx="122273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2400" dirty="0">
                <a:latin typeface="Latam Sans" panose="020B0505030403020204" pitchFamily="34" charset="0"/>
              </a:rPr>
              <a:t>Fonte: Jurcaib </a:t>
            </a:r>
            <a:r>
              <a:rPr lang="pt-BR" sz="1400" dirty="0">
                <a:latin typeface="Latam Sans" panose="020B0505030403020204" pitchFamily="34" charset="0"/>
              </a:rPr>
              <a:t>(Junta de Representantes das Empresas Aéreas Internacionais no Brasil) </a:t>
            </a:r>
          </a:p>
        </p:txBody>
      </p:sp>
      <p:sp>
        <p:nvSpPr>
          <p:cNvPr id="14" name="Seta para a direita 13"/>
          <p:cNvSpPr/>
          <p:nvPr/>
        </p:nvSpPr>
        <p:spPr>
          <a:xfrm>
            <a:off x="9651849" y="2111091"/>
            <a:ext cx="444133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 flipH="1">
            <a:off x="10095982" y="1718704"/>
            <a:ext cx="1968804" cy="12311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algn="ctr">
              <a:buClr>
                <a:srgbClr val="ED1650"/>
              </a:buClr>
            </a:pPr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85 vezes </a:t>
            </a:r>
          </a:p>
          <a:p>
            <a:pPr marL="0" lvl="1" algn="ctr">
              <a:buClr>
                <a:srgbClr val="ED1650"/>
              </a:buClr>
            </a:pPr>
            <a:r>
              <a:rPr lang="pt-BR" sz="18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mais processos no Brasil </a:t>
            </a:r>
          </a:p>
          <a:p>
            <a:pPr marL="0" lvl="1" algn="ctr">
              <a:buClr>
                <a:srgbClr val="ED1650"/>
              </a:buClr>
            </a:pPr>
            <a:r>
              <a:rPr lang="pt-BR" sz="18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que nos EUA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313529" y="4919068"/>
            <a:ext cx="11580335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Processos judiciais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: </a:t>
            </a:r>
          </a:p>
          <a:p>
            <a:pPr algn="ctr"/>
            <a:r>
              <a:rPr lang="pt-BR" sz="2000" b="1" dirty="0">
                <a:latin typeface="Latam Sans" panose="020B0505030403020204" pitchFamily="34" charset="0"/>
              </a:rPr>
              <a:t>aumento de 50% </a:t>
            </a:r>
            <a:r>
              <a:rPr lang="pt-BR" sz="2000" dirty="0">
                <a:latin typeface="Latam Sans" panose="020B0505030403020204" pitchFamily="34" charset="0"/>
              </a:rPr>
              <a:t>em 2018 e novo </a:t>
            </a:r>
            <a:r>
              <a:rPr lang="pt-BR" sz="2000" b="1" dirty="0">
                <a:latin typeface="Latam Sans" panose="020B0505030403020204" pitchFamily="34" charset="0"/>
              </a:rPr>
              <a:t>aumento de 50% </a:t>
            </a:r>
            <a:r>
              <a:rPr lang="pt-BR" sz="2000" dirty="0">
                <a:latin typeface="Latam Sans" panose="020B0505030403020204" pitchFamily="34" charset="0"/>
              </a:rPr>
              <a:t>até </a:t>
            </a:r>
            <a:r>
              <a:rPr lang="pt-BR" sz="2000" dirty="0" err="1">
                <a:latin typeface="Latam Sans" panose="020B0505030403020204" pitchFamily="34" charset="0"/>
              </a:rPr>
              <a:t>abr</a:t>
            </a:r>
            <a:r>
              <a:rPr lang="pt-BR" sz="2000" dirty="0">
                <a:latin typeface="Latam Sans" panose="020B0505030403020204" pitchFamily="34" charset="0"/>
              </a:rPr>
              <a:t>/19</a:t>
            </a:r>
          </a:p>
          <a:p>
            <a:pPr algn="ctr"/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 </a:t>
            </a:r>
          </a:p>
          <a:p>
            <a:pPr algn="ctr"/>
            <a:r>
              <a:rPr lang="pt-BR" sz="2000" b="1" dirty="0">
                <a:latin typeface="Latam Sans" panose="020B0505030403020204" pitchFamily="34" charset="0"/>
              </a:rPr>
              <a:t>Alta dos custos e impacto para competitividade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4925019" y="1533089"/>
            <a:ext cx="4504763" cy="2655357"/>
            <a:chOff x="313530" y="1539011"/>
            <a:chExt cx="4504763" cy="2655357"/>
          </a:xfrm>
        </p:grpSpPr>
        <p:sp>
          <p:nvSpPr>
            <p:cNvPr id="4" name="CaixaDeTexto 3"/>
            <p:cNvSpPr txBox="1"/>
            <p:nvPr/>
          </p:nvSpPr>
          <p:spPr>
            <a:xfrm>
              <a:off x="313530" y="1539011"/>
              <a:ext cx="4504763" cy="150810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lvl="1" algn="ctr">
                <a:buClr>
                  <a:srgbClr val="ED1650"/>
                </a:buClr>
              </a:pPr>
              <a:r>
                <a:rPr lang="pt-BR" sz="2000" dirty="0">
                  <a:solidFill>
                    <a:srgbClr val="280087"/>
                  </a:solidFill>
                  <a:latin typeface="Latam Sans" panose="020B0505030403020204" pitchFamily="34" charset="0"/>
                </a:rPr>
                <a:t>Brasil </a:t>
              </a:r>
              <a:endParaRPr lang="pt-BR" altLang="pt-BR" sz="2000" dirty="0">
                <a:solidFill>
                  <a:srgbClr val="280087"/>
                </a:solidFill>
                <a:latin typeface="Latam Sans" panose="020B0505030403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63.045 processos contra cias</a:t>
              </a: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2.320 voos diários</a:t>
              </a:r>
            </a:p>
            <a:p>
              <a:pPr marL="0" lvl="1" algn="ctr">
                <a:buClr>
                  <a:srgbClr val="ED1650"/>
                </a:buClr>
              </a:pPr>
              <a:endParaRPr lang="pt-BR" sz="1800" i="1" dirty="0">
                <a:solidFill>
                  <a:srgbClr val="222222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sz="1800" b="1" dirty="0">
                  <a:latin typeface="Latam Sans" panose="020B0505030403020204" pitchFamily="34" charset="0"/>
                </a:rPr>
                <a:t>1 PROCESSO A CADA 15 VOOS*</a:t>
              </a:r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313530" y="3240261"/>
              <a:ext cx="4504763" cy="95410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lvl="1" algn="ctr">
                <a:buClr>
                  <a:srgbClr val="ED1650"/>
                </a:buClr>
              </a:pPr>
              <a:r>
                <a:rPr lang="pt-BR" sz="2000" dirty="0">
                  <a:solidFill>
                    <a:srgbClr val="280087"/>
                  </a:solidFill>
                  <a:latin typeface="Latam Sans" panose="020B0505030403020204" pitchFamily="34" charset="0"/>
                </a:rPr>
                <a:t>Delta no Brasil </a:t>
              </a:r>
              <a:endParaRPr lang="pt-BR" altLang="pt-BR" sz="2000" dirty="0">
                <a:solidFill>
                  <a:srgbClr val="280087"/>
                </a:solidFill>
                <a:latin typeface="Latam Sans" panose="020B0505030403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1.200  processos</a:t>
              </a: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5 voos diários</a:t>
              </a:r>
            </a:p>
          </p:txBody>
        </p:sp>
      </p:grpSp>
      <p:sp>
        <p:nvSpPr>
          <p:cNvPr id="26" name="CaixaDeTexto 25"/>
          <p:cNvSpPr txBox="1"/>
          <p:nvPr/>
        </p:nvSpPr>
        <p:spPr>
          <a:xfrm flipH="1">
            <a:off x="10095981" y="3130359"/>
            <a:ext cx="1913067" cy="126188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lvl="1" algn="ctr">
              <a:buClr>
                <a:srgbClr val="ED1650"/>
              </a:buClr>
            </a:pPr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10 x  </a:t>
            </a:r>
          </a:p>
          <a:p>
            <a:pPr marL="0" lvl="1" algn="ctr">
              <a:buClr>
                <a:srgbClr val="ED1650"/>
              </a:buClr>
            </a:pPr>
            <a:r>
              <a:rPr lang="pt-BR" sz="18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mais ações operando </a:t>
            </a:r>
          </a:p>
          <a:p>
            <a:pPr marL="0" lvl="1" algn="ctr">
              <a:buClr>
                <a:srgbClr val="ED1650"/>
              </a:buClr>
            </a:pPr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0,1% </a:t>
            </a:r>
            <a:r>
              <a:rPr lang="pt-BR" sz="1800" dirty="0">
                <a:solidFill>
                  <a:schemeClr val="bg1">
                    <a:lumMod val="50000"/>
                  </a:schemeClr>
                </a:solidFill>
                <a:latin typeface="Latam Sans" panose="020B0505030403020204" pitchFamily="34" charset="0"/>
              </a:rPr>
              <a:t>dos voos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254915" y="1526274"/>
            <a:ext cx="4503600" cy="2662172"/>
            <a:chOff x="4943031" y="1526274"/>
            <a:chExt cx="4503600" cy="2662172"/>
          </a:xfrm>
        </p:grpSpPr>
        <p:sp>
          <p:nvSpPr>
            <p:cNvPr id="11" name="CaixaDeTexto 10"/>
            <p:cNvSpPr txBox="1"/>
            <p:nvPr/>
          </p:nvSpPr>
          <p:spPr>
            <a:xfrm>
              <a:off x="4943031" y="1526274"/>
              <a:ext cx="4503600" cy="150810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lvl="1" algn="ctr">
                <a:buClr>
                  <a:srgbClr val="ED1650"/>
                </a:buClr>
              </a:pPr>
              <a:r>
                <a:rPr lang="pt-BR" sz="2000" dirty="0">
                  <a:solidFill>
                    <a:srgbClr val="280087"/>
                  </a:solidFill>
                  <a:latin typeface="Latam Sans" panose="020B0505030403020204" pitchFamily="34" charset="0"/>
                </a:rPr>
                <a:t>EUA </a:t>
              </a:r>
              <a:endParaRPr lang="pt-BR" altLang="pt-BR" sz="2000" dirty="0">
                <a:solidFill>
                  <a:srgbClr val="280087"/>
                </a:solidFill>
                <a:latin typeface="Latam Sans" panose="020B0505030403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2.859 processos contra AA e Delta </a:t>
              </a: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10.000 voos diários</a:t>
              </a:r>
            </a:p>
            <a:p>
              <a:pPr lvl="1">
                <a:buClr>
                  <a:srgbClr val="ED1650"/>
                </a:buClr>
              </a:pPr>
              <a:endParaRPr lang="pt-BR" sz="1800" i="1" dirty="0">
                <a:solidFill>
                  <a:srgbClr val="222222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sz="1800" b="1" dirty="0">
                  <a:latin typeface="Latam Sans" panose="020B0505030403020204" pitchFamily="34" charset="0"/>
                </a:rPr>
                <a:t>1 PROCESSO A CADA 1.277 VOOS*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4943031" y="3234339"/>
              <a:ext cx="4503600" cy="95410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lvl="1" algn="ctr">
                <a:buClr>
                  <a:srgbClr val="ED1650"/>
                </a:buClr>
              </a:pPr>
              <a:r>
                <a:rPr lang="pt-BR" sz="2000" dirty="0">
                  <a:solidFill>
                    <a:srgbClr val="280087"/>
                  </a:solidFill>
                  <a:latin typeface="Latam Sans" panose="020B0505030403020204" pitchFamily="34" charset="0"/>
                </a:rPr>
                <a:t>Delta nos EUA</a:t>
              </a:r>
              <a:endParaRPr lang="pt-BR" altLang="pt-BR" sz="2000" dirty="0">
                <a:solidFill>
                  <a:srgbClr val="280087"/>
                </a:solidFill>
                <a:latin typeface="Latam Sans" panose="020B0505030403020204" pitchFamily="34" charset="0"/>
              </a:endParaRP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130 processos</a:t>
              </a:r>
            </a:p>
            <a:p>
              <a:pPr marL="0" lvl="1" algn="ctr">
                <a:buClr>
                  <a:srgbClr val="ED1650"/>
                </a:buClr>
              </a:pPr>
              <a:r>
                <a:rPr lang="pt-BR" altLang="pt-BR" sz="1800" dirty="0">
                  <a:solidFill>
                    <a:schemeClr val="bg1">
                      <a:lumMod val="50000"/>
                    </a:schemeClr>
                  </a:solidFill>
                  <a:latin typeface="Latam Sans" panose="020B0505030403020204" pitchFamily="34" charset="0"/>
                </a:rPr>
                <a:t>5 mil voos diários</a:t>
              </a:r>
            </a:p>
          </p:txBody>
        </p:sp>
      </p:grpSp>
      <p:sp>
        <p:nvSpPr>
          <p:cNvPr id="29" name="Seta para a direita 28"/>
          <p:cNvSpPr/>
          <p:nvPr/>
        </p:nvSpPr>
        <p:spPr>
          <a:xfrm>
            <a:off x="9651849" y="3596833"/>
            <a:ext cx="444133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-218292" y="6493103"/>
            <a:ext cx="33886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1600" i="1" dirty="0">
                <a:solidFill>
                  <a:srgbClr val="535353"/>
                </a:solidFill>
                <a:latin typeface="Latam Sans" panose="020B0505030403020204" pitchFamily="34" charset="0"/>
              </a:rPr>
              <a:t>Dados referentes a 2017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-374524" y="4406851"/>
            <a:ext cx="9870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2400" dirty="0">
                <a:latin typeface="Latam Sans" panose="020B0505030403020204" pitchFamily="34" charset="0"/>
              </a:rPr>
              <a:t>Fonte: LATAM</a:t>
            </a:r>
          </a:p>
        </p:txBody>
      </p:sp>
      <p:sp>
        <p:nvSpPr>
          <p:cNvPr id="19" name="Seta para a direita 18"/>
          <p:cNvSpPr/>
          <p:nvPr/>
        </p:nvSpPr>
        <p:spPr>
          <a:xfrm rot="5400000">
            <a:off x="5991927" y="5536826"/>
            <a:ext cx="281171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332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aixaDeTexto 5"/>
          <p:cNvSpPr txBox="1"/>
          <p:nvPr/>
        </p:nvSpPr>
        <p:spPr>
          <a:xfrm>
            <a:off x="-214238" y="6550911"/>
            <a:ext cx="113186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rgbClr val="ED1650"/>
              </a:buClr>
            </a:pPr>
            <a:r>
              <a:rPr lang="pt-BR" sz="800" i="1" dirty="0">
                <a:solidFill>
                  <a:srgbClr val="535353"/>
                </a:solidFill>
                <a:latin typeface="Latam Sans" panose="020B0505030403020204" pitchFamily="34" charset="0"/>
              </a:rPr>
              <a:t>Fonte: Agência Nacional de Aviação Civil – ANAC (gráfico elaborado pela Abear)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7396378" y="1849879"/>
            <a:ext cx="4486296" cy="3477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lvl="1" algn="just">
              <a:buClr>
                <a:srgbClr val="ED1650"/>
              </a:buClr>
            </a:pPr>
            <a:endParaRPr lang="pt-BR" sz="1400" dirty="0">
              <a:solidFill>
                <a:srgbClr val="535353"/>
              </a:solidFill>
              <a:latin typeface="Latam Sans" panose="020B0505030403020204" pitchFamily="34" charset="0"/>
            </a:endParaRPr>
          </a:p>
          <a:p>
            <a:pPr marL="0" lvl="1" algn="just">
              <a:buClr>
                <a:srgbClr val="ED1650"/>
              </a:buClr>
            </a:pPr>
            <a:r>
              <a:rPr lang="pt-BR" sz="1400" dirty="0">
                <a:latin typeface="Latam Sans" panose="020B0505030403020204" pitchFamily="34" charset="0"/>
              </a:rPr>
              <a:t>TARIFA MÉDIA: </a:t>
            </a:r>
          </a:p>
          <a:p>
            <a:pPr marL="0" lvl="1" algn="just">
              <a:buClr>
                <a:srgbClr val="ED1650"/>
              </a:buClr>
            </a:pPr>
            <a:endParaRPr lang="pt-BR" sz="800" dirty="0">
              <a:latin typeface="Latam Sans" panose="020B0505030403020204" pitchFamily="34" charset="0"/>
            </a:endParaRPr>
          </a:p>
          <a:p>
            <a:pPr marL="285750" lvl="1" indent="-285750" algn="just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1400" u="sng" dirty="0">
                <a:latin typeface="Latam Sans" panose="020B0505030403020204" pitchFamily="34" charset="0"/>
              </a:rPr>
              <a:t>2002 a 2018:</a:t>
            </a:r>
            <a:r>
              <a:rPr lang="pt-BR" sz="1400" dirty="0">
                <a:latin typeface="Latam Sans" panose="020B0505030403020204" pitchFamily="34" charset="0"/>
              </a:rPr>
              <a:t> </a:t>
            </a:r>
          </a:p>
          <a:p>
            <a:pPr marL="0" lvl="1" algn="just">
              <a:buClr>
                <a:srgbClr val="ED1650"/>
              </a:buClr>
            </a:pPr>
            <a:r>
              <a:rPr lang="pt-BR" sz="1400" dirty="0">
                <a:latin typeface="Latam Sans" panose="020B0505030403020204" pitchFamily="34" charset="0"/>
              </a:rPr>
              <a:t>      de R$ 729,41 para R$ 374,12 </a:t>
            </a:r>
            <a:r>
              <a:rPr lang="pt-BR" sz="1400" b="1" dirty="0">
                <a:latin typeface="Latam Sans" panose="020B0505030403020204" pitchFamily="34" charset="0"/>
              </a:rPr>
              <a:t>(redução de 49%)</a:t>
            </a:r>
          </a:p>
          <a:p>
            <a:pPr marL="0" lvl="1" algn="just">
              <a:buClr>
                <a:srgbClr val="ED1650"/>
              </a:buClr>
            </a:pPr>
            <a:endParaRPr lang="pt-BR" sz="800" dirty="0">
              <a:latin typeface="Latam Sans" panose="020B0505030403020204" pitchFamily="34" charset="0"/>
            </a:endParaRPr>
          </a:p>
          <a:p>
            <a:pPr marL="285750" lvl="1" indent="-285750" algn="just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1400" u="sng" dirty="0">
                <a:latin typeface="Latam Sans" panose="020B0505030403020204" pitchFamily="34" charset="0"/>
              </a:rPr>
              <a:t>2015 a 2017:</a:t>
            </a:r>
            <a:r>
              <a:rPr lang="pt-BR" sz="1400" dirty="0">
                <a:latin typeface="Latam Sans" panose="020B0505030403020204" pitchFamily="34" charset="0"/>
              </a:rPr>
              <a:t> </a:t>
            </a:r>
          </a:p>
          <a:p>
            <a:pPr marL="0" lvl="1" algn="just">
              <a:buClr>
                <a:srgbClr val="ED1650"/>
              </a:buClr>
            </a:pPr>
            <a:r>
              <a:rPr lang="pt-BR" sz="1400" dirty="0">
                <a:latin typeface="Latam Sans" panose="020B0505030403020204" pitchFamily="34" charset="0"/>
              </a:rPr>
              <a:t>       permaneceu estável no período agudo de crise</a:t>
            </a:r>
          </a:p>
          <a:p>
            <a:pPr algn="just">
              <a:buClr>
                <a:srgbClr val="ED1650"/>
              </a:buClr>
            </a:pPr>
            <a:endParaRPr lang="pt-BR" sz="1400" dirty="0">
              <a:latin typeface="Latam Sans" panose="020B0505030403020204" pitchFamily="34" charset="0"/>
            </a:endParaRPr>
          </a:p>
          <a:p>
            <a:pPr algn="ctr">
              <a:buClr>
                <a:srgbClr val="ED1650"/>
              </a:buClr>
            </a:pPr>
            <a:r>
              <a:rPr lang="pt-BR" sz="1400" b="1" dirty="0">
                <a:latin typeface="Latam Sans" panose="020B0505030403020204" pitchFamily="34" charset="0"/>
              </a:rPr>
              <a:t>Prejuízo acumulado de 2012 a 2017: </a:t>
            </a:r>
          </a:p>
          <a:p>
            <a:pPr algn="ctr">
              <a:buClr>
                <a:srgbClr val="ED1650"/>
              </a:buClr>
            </a:pPr>
            <a:r>
              <a:rPr lang="pt-BR" sz="1400" b="1" dirty="0">
                <a:latin typeface="Latam Sans" panose="020B0505030403020204" pitchFamily="34" charset="0"/>
              </a:rPr>
              <a:t>R$ 13,7 bilhões</a:t>
            </a:r>
          </a:p>
          <a:p>
            <a:pPr algn="just">
              <a:buClr>
                <a:srgbClr val="ED1650"/>
              </a:buClr>
            </a:pPr>
            <a:endParaRPr lang="pt-BR" sz="1400" dirty="0">
              <a:latin typeface="Latam Sans" panose="020B0505030403020204" pitchFamily="34" charset="0"/>
            </a:endParaRPr>
          </a:p>
          <a:p>
            <a:pPr algn="just">
              <a:buClr>
                <a:srgbClr val="ED1650"/>
              </a:buClr>
            </a:pPr>
            <a:r>
              <a:rPr lang="pt-BR" sz="1400" dirty="0">
                <a:latin typeface="Latam Sans" panose="020B0505030403020204" pitchFamily="34" charset="0"/>
              </a:rPr>
              <a:t>LIBERDADE TARIFÁRIA DESDE 2002:</a:t>
            </a:r>
          </a:p>
          <a:p>
            <a:pPr algn="just">
              <a:buClr>
                <a:srgbClr val="ED1650"/>
              </a:buClr>
            </a:pPr>
            <a:endParaRPr lang="pt-BR" sz="800" dirty="0">
              <a:latin typeface="Latam Sans" panose="020B0505030403020204" pitchFamily="34" charset="0"/>
            </a:endParaRPr>
          </a:p>
          <a:p>
            <a:pPr marL="285750" indent="-285750" algn="just">
              <a:buClr>
                <a:srgbClr val="ED1650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latin typeface="Latam Sans" panose="020B0505030403020204" pitchFamily="34" charset="0"/>
              </a:rPr>
              <a:t>Número de passageiros domésticos </a:t>
            </a:r>
            <a:r>
              <a:rPr lang="pt-BR" sz="1400" b="1" dirty="0">
                <a:latin typeface="Latam Sans" panose="020B0505030403020204" pitchFamily="34" charset="0"/>
              </a:rPr>
              <a:t>triplicou: </a:t>
            </a:r>
          </a:p>
          <a:p>
            <a:pPr algn="just">
              <a:buClr>
                <a:srgbClr val="ED1650"/>
              </a:buClr>
            </a:pPr>
            <a:r>
              <a:rPr lang="pt-BR" sz="1400" dirty="0">
                <a:latin typeface="Latam Sans" panose="020B0505030403020204" pitchFamily="34" charset="0"/>
              </a:rPr>
              <a:t>       de 31 milhões para </a:t>
            </a:r>
            <a:r>
              <a:rPr lang="pt-BR" sz="1400" b="1" dirty="0">
                <a:latin typeface="Latam Sans" panose="020B0505030403020204" pitchFamily="34" charset="0"/>
              </a:rPr>
              <a:t>93,7 milhões</a:t>
            </a:r>
          </a:p>
          <a:p>
            <a:pPr algn="just">
              <a:buClr>
                <a:srgbClr val="ED1650"/>
              </a:buClr>
            </a:pPr>
            <a:endParaRPr lang="pt-BR" sz="1400" i="1" dirty="0">
              <a:solidFill>
                <a:srgbClr val="535353"/>
              </a:solidFill>
              <a:latin typeface="Latam Sans" panose="020B0505030403020204" pitchFamily="34" charset="0"/>
            </a:endParaRPr>
          </a:p>
        </p:txBody>
      </p:sp>
      <p:sp>
        <p:nvSpPr>
          <p:cNvPr id="5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49360" y="-49288"/>
            <a:ext cx="10714258" cy="640587"/>
          </a:xfrm>
        </p:spPr>
        <p:txBody>
          <a:bodyPr anchor="ctr"/>
          <a:lstStyle/>
          <a:p>
            <a:r>
              <a:rPr lang="pt-BR" sz="2600" dirty="0">
                <a:solidFill>
                  <a:srgbClr val="280087"/>
                </a:solidFill>
                <a:latin typeface="Latam Sans" panose="020B0505030403020204" pitchFamily="34" charset="0"/>
              </a:rPr>
              <a:t> </a:t>
            </a:r>
            <a:r>
              <a:rPr lang="pt-BR" sz="2600" dirty="0">
                <a:solidFill>
                  <a:schemeClr val="tx1"/>
                </a:solidFill>
                <a:latin typeface="Latam Sans" panose="020B0505030403020204" pitchFamily="34" charset="0"/>
              </a:rPr>
              <a:t>Evolução das tarifas e dos passageiros transportados no Brasil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-26287" y="1096108"/>
            <a:ext cx="1221828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ED1650"/>
              </a:buClr>
            </a:pPr>
            <a:r>
              <a:rPr lang="pt-BR" sz="2600" dirty="0">
                <a:latin typeface="Latam Sans" panose="020B0505030403020204" pitchFamily="34" charset="0"/>
              </a:rPr>
              <a:t>Passagens aéreas mais acessíveis: </a:t>
            </a:r>
            <a:r>
              <a:rPr lang="pt-BR" sz="2600" b="1" dirty="0">
                <a:latin typeface="Latam Sans" panose="020B0505030403020204" pitchFamily="34" charset="0"/>
              </a:rPr>
              <a:t>MAIS BRASILEIROS ESTÃO VOANDO</a:t>
            </a:r>
          </a:p>
          <a:p>
            <a:pPr marL="285750" indent="-285750" algn="just">
              <a:buClr>
                <a:srgbClr val="ED1650"/>
              </a:buClr>
              <a:buFont typeface="Wingdings" panose="05000000000000000000" pitchFamily="2" charset="2"/>
              <a:buChar char="ü"/>
            </a:pPr>
            <a:endParaRPr lang="pt-BR" sz="2600" dirty="0">
              <a:solidFill>
                <a:srgbClr val="535353"/>
              </a:solidFill>
              <a:latin typeface="Latam Sans" panose="020B0505030403020204" pitchFamily="34" charset="0"/>
            </a:endParaRPr>
          </a:p>
          <a:p>
            <a:pPr marL="851626" lvl="1" indent="-285750" algn="just">
              <a:buClr>
                <a:srgbClr val="ED1650"/>
              </a:buClr>
              <a:buFont typeface="Wingdings" panose="05000000000000000000" pitchFamily="2" charset="2"/>
              <a:buChar char="§"/>
            </a:pPr>
            <a:endParaRPr lang="pt-BR" sz="2600" dirty="0">
              <a:solidFill>
                <a:srgbClr val="535353"/>
              </a:solidFill>
              <a:latin typeface="Latam Sans" panose="020B0505030403020204" pitchFamily="34" charset="0"/>
            </a:endParaRPr>
          </a:p>
          <a:p>
            <a:pPr lvl="1" algn="just">
              <a:buClr>
                <a:srgbClr val="ED1650"/>
              </a:buClr>
            </a:pPr>
            <a:endParaRPr lang="pt-BR" sz="2600" i="1" dirty="0">
              <a:solidFill>
                <a:srgbClr val="535353"/>
              </a:solidFill>
              <a:latin typeface="Latam Sans" panose="020B0505030403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920354" y="1792718"/>
            <a:ext cx="395909" cy="2995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/>
          <a:srcRect l="12434" t="19865" r="12518" b="8187"/>
          <a:stretch/>
        </p:blipFill>
        <p:spPr>
          <a:xfrm>
            <a:off x="361719" y="1776207"/>
            <a:ext cx="6725333" cy="36249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361718" y="5456088"/>
            <a:ext cx="672533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ED1650"/>
              </a:buClr>
            </a:pPr>
            <a:r>
              <a:rPr lang="pt-BR" sz="2000" b="1" dirty="0">
                <a:latin typeface="Latam Sans" panose="020B0505030403020204" pitchFamily="34" charset="0"/>
              </a:rPr>
              <a:t>5 anos após início da recessão</a:t>
            </a:r>
            <a: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  <a:t>, </a:t>
            </a:r>
            <a:br>
              <a:rPr lang="pt-BR" sz="2000" dirty="0">
                <a:solidFill>
                  <a:srgbClr val="280087"/>
                </a:solidFill>
                <a:latin typeface="Latam Sans" panose="020B0505030403020204" pitchFamily="34" charset="0"/>
              </a:rPr>
            </a:br>
            <a:r>
              <a:rPr lang="pt-BR" sz="2000" dirty="0">
                <a:latin typeface="Latam Sans" panose="020B0505030403020204" pitchFamily="34" charset="0"/>
              </a:rPr>
              <a:t>NENHUM SETOR VOLTOU AO NÍVEL PRÉ-CRISE </a:t>
            </a:r>
            <a:br>
              <a:rPr lang="pt-BR" sz="2000" dirty="0">
                <a:latin typeface="Latam Sans" panose="020B0505030403020204" pitchFamily="34" charset="0"/>
              </a:rPr>
            </a:br>
            <a:r>
              <a:rPr lang="pt-BR" sz="1200" dirty="0">
                <a:latin typeface="Latam Sans" panose="020B0505030403020204" pitchFamily="34" charset="0"/>
              </a:rPr>
              <a:t>(Título de reportagem de </a:t>
            </a:r>
            <a:r>
              <a:rPr lang="pt-BR" sz="1200" i="1" dirty="0">
                <a:latin typeface="Latam Sans" panose="020B0505030403020204" pitchFamily="34" charset="0"/>
              </a:rPr>
              <a:t>O Estado de S.Paulo</a:t>
            </a:r>
            <a:r>
              <a:rPr lang="pt-BR" sz="1200" dirty="0">
                <a:latin typeface="Latam Sans" panose="020B0505030403020204" pitchFamily="34" charset="0"/>
              </a:rPr>
              <a:t>, de 20/5/19, de Luciana Dyniewicz)</a:t>
            </a:r>
          </a:p>
          <a:p>
            <a:pPr marL="285750" indent="-285750" algn="just">
              <a:buClr>
                <a:srgbClr val="ED1650"/>
              </a:buClr>
              <a:buFont typeface="Wingdings" panose="05000000000000000000" pitchFamily="2" charset="2"/>
              <a:buChar char="ü"/>
            </a:pPr>
            <a:endParaRPr lang="pt-BR" sz="1600" dirty="0">
              <a:solidFill>
                <a:srgbClr val="ED1650"/>
              </a:solidFill>
              <a:latin typeface="Latam Sans" panose="020B0505030403020204" pitchFamily="34" charset="0"/>
            </a:endParaRPr>
          </a:p>
          <a:p>
            <a:pPr marL="851626" lvl="1" indent="-285750" algn="just">
              <a:buClr>
                <a:srgbClr val="ED1650"/>
              </a:buClr>
              <a:buFont typeface="Wingdings" panose="05000000000000000000" pitchFamily="2" charset="2"/>
              <a:buChar char="§"/>
            </a:pPr>
            <a:endParaRPr lang="pt-BR" sz="1800" dirty="0">
              <a:solidFill>
                <a:srgbClr val="ED1650"/>
              </a:solidFill>
              <a:latin typeface="Latam Sans" panose="020B0505030403020204" pitchFamily="34" charset="0"/>
            </a:endParaRPr>
          </a:p>
          <a:p>
            <a:pPr lvl="1" algn="just">
              <a:buClr>
                <a:srgbClr val="ED1650"/>
              </a:buClr>
            </a:pPr>
            <a:endParaRPr lang="pt-BR" sz="1200" i="1" dirty="0">
              <a:solidFill>
                <a:srgbClr val="ED1650"/>
              </a:solidFill>
              <a:latin typeface="Latam Sans" panose="020B0505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707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749" y="984363"/>
            <a:ext cx="9615794" cy="3964406"/>
          </a:xfrm>
          <a:prstGeom prst="rect">
            <a:avLst/>
          </a:prstGeom>
        </p:spPr>
      </p:pic>
      <p:sp>
        <p:nvSpPr>
          <p:cNvPr id="42" name="Retângulo 41"/>
          <p:cNvSpPr/>
          <p:nvPr/>
        </p:nvSpPr>
        <p:spPr>
          <a:xfrm>
            <a:off x="6667272" y="5169924"/>
            <a:ext cx="5247527" cy="11002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9" name="Retângulo 38"/>
          <p:cNvSpPr/>
          <p:nvPr/>
        </p:nvSpPr>
        <p:spPr>
          <a:xfrm>
            <a:off x="427559" y="5169924"/>
            <a:ext cx="5247527" cy="11002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867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318778" y="6470323"/>
            <a:ext cx="2606804" cy="3592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67" dirty="0">
                <a:latin typeface="Latam Sans" panose="020B0505030403020204"/>
              </a:rPr>
              <a:t>Fonte: LATAM / * Período: de mar/17 a abr/19</a:t>
            </a:r>
          </a:p>
          <a:p>
            <a:endParaRPr lang="pt-BR" sz="867" dirty="0">
              <a:latin typeface="Latam Sans" panose="020B0505030403020204"/>
            </a:endParaRPr>
          </a:p>
        </p:txBody>
      </p:sp>
      <p:sp>
        <p:nvSpPr>
          <p:cNvPr id="24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491151" y="267541"/>
            <a:ext cx="11408573" cy="629737"/>
          </a:xfrm>
          <a:noFill/>
        </p:spPr>
        <p:txBody>
          <a:bodyPr/>
          <a:lstStyle/>
          <a:p>
            <a:br>
              <a:rPr lang="pt-BR" sz="2667" i="1" dirty="0"/>
            </a:br>
            <a:endParaRPr lang="pt-BR" sz="2800" dirty="0">
              <a:solidFill>
                <a:srgbClr val="280087"/>
              </a:solidFill>
            </a:endParaRP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-10968"/>
            <a:ext cx="10620240" cy="640587"/>
          </a:xfrm>
        </p:spPr>
        <p:txBody>
          <a:bodyPr anchor="ctr"/>
          <a:lstStyle/>
          <a:p>
            <a:pPr marL="177800"/>
            <a:r>
              <a:rPr lang="pt-BR" sz="2800" dirty="0">
                <a:solidFill>
                  <a:srgbClr val="280087"/>
                </a:solidFill>
                <a:latin typeface="Latam Sans" panose="020B0505030403020204" pitchFamily="34" charset="0"/>
              </a:rPr>
              <a:t> </a:t>
            </a:r>
            <a:r>
              <a:rPr lang="pt-BR" sz="2800" dirty="0">
                <a:solidFill>
                  <a:schemeClr val="tx1"/>
                </a:solidFill>
                <a:latin typeface="Latam Sans" panose="020B0505030403020204" pitchFamily="34" charset="0"/>
              </a:rPr>
              <a:t>Passageiro ganhou opções e paga apenas pelo que escolheu</a:t>
            </a:r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0196559" y="2438004"/>
            <a:ext cx="1951900" cy="941011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spcFirstLastPara="1" vert="horz" wrap="square" lIns="91425" tIns="91425" rIns="91425" bIns="91425" anchor="t" anchorCtr="0"/>
          <a:lstStyle/>
          <a:p>
            <a:pPr algn="ctr">
              <a:spcBef>
                <a:spcPts val="0"/>
              </a:spcBef>
            </a:pPr>
            <a:r>
              <a:rPr lang="pt-BR" sz="1200" b="0" dirty="0">
                <a:solidFill>
                  <a:schemeClr val="tx1"/>
                </a:solidFill>
                <a:latin typeface="Latam Sans" panose="020B0505030403020204"/>
              </a:rPr>
              <a:t>Essas classes tarifárias NÃO incluem:</a:t>
            </a:r>
          </a:p>
          <a:p>
            <a:pPr algn="ctr">
              <a:spcBef>
                <a:spcPts val="0"/>
              </a:spcBef>
            </a:pPr>
            <a:r>
              <a:rPr lang="pt-BR" sz="1200" b="0" dirty="0">
                <a:solidFill>
                  <a:schemeClr val="tx1"/>
                </a:solidFill>
                <a:latin typeface="Latam Sans" panose="020B0505030403020204"/>
              </a:rPr>
              <a:t> bagagem despachada &amp; marcação de assentos</a:t>
            </a:r>
          </a:p>
        </p:txBody>
      </p:sp>
      <p:sp>
        <p:nvSpPr>
          <p:cNvPr id="9" name="Retângulo 8"/>
          <p:cNvSpPr/>
          <p:nvPr/>
        </p:nvSpPr>
        <p:spPr>
          <a:xfrm>
            <a:off x="8911774" y="2587420"/>
            <a:ext cx="1043769" cy="6492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FFC000"/>
              </a:solidFill>
            </a:endParaRPr>
          </a:p>
        </p:txBody>
      </p:sp>
      <p:cxnSp>
        <p:nvCxnSpPr>
          <p:cNvPr id="15" name="Conector de seta reta 14"/>
          <p:cNvCxnSpPr>
            <a:stCxn id="9" idx="3"/>
            <a:endCxn id="18" idx="1"/>
          </p:cNvCxnSpPr>
          <p:nvPr/>
        </p:nvCxnSpPr>
        <p:spPr>
          <a:xfrm flipV="1">
            <a:off x="9955543" y="2908510"/>
            <a:ext cx="241016" cy="354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35949" y="5169924"/>
            <a:ext cx="6059488" cy="629737"/>
          </a:xfrm>
          <a:noFill/>
          <a:ln>
            <a:noFill/>
          </a:ln>
        </p:spPr>
        <p:txBody>
          <a:bodyPr spcFirstLastPara="1" vert="horz" wrap="square" lIns="91425" tIns="91425" rIns="91425" bIns="91425" anchor="t" anchorCtr="0"/>
          <a:lstStyle/>
          <a:p>
            <a:pPr algn="ctr">
              <a:spcBef>
                <a:spcPts val="0"/>
              </a:spcBef>
            </a:pPr>
            <a:r>
              <a:rPr lang="pt-BR" sz="2000" dirty="0">
                <a:solidFill>
                  <a:schemeClr val="tx1"/>
                </a:solidFill>
                <a:latin typeface="Latam Sans" panose="020B0505030403020204"/>
              </a:rPr>
              <a:t>71% das tarifas vendidas* </a:t>
            </a:r>
          </a:p>
          <a:p>
            <a:pPr algn="ctr">
              <a:spcBef>
                <a:spcPts val="0"/>
              </a:spcBef>
            </a:pPr>
            <a:r>
              <a:rPr lang="pt-BR" sz="2000" b="0" dirty="0">
                <a:solidFill>
                  <a:schemeClr val="tx1"/>
                </a:solidFill>
                <a:latin typeface="Latam Sans" panose="020B0505030403020204"/>
              </a:rPr>
              <a:t>foram nas categorias que </a:t>
            </a:r>
          </a:p>
          <a:p>
            <a:pPr algn="ctr">
              <a:spcBef>
                <a:spcPts val="0"/>
              </a:spcBef>
            </a:pPr>
            <a:r>
              <a:rPr lang="pt-BR" sz="2000" dirty="0">
                <a:solidFill>
                  <a:schemeClr val="tx1"/>
                </a:solidFill>
                <a:latin typeface="Latam Sans" panose="020B0505030403020204"/>
              </a:rPr>
              <a:t>não incluem bagagem despachada</a:t>
            </a:r>
          </a:p>
          <a:p>
            <a:pPr algn="ctr">
              <a:spcBef>
                <a:spcPts val="0"/>
              </a:spcBef>
            </a:pPr>
            <a:endParaRPr lang="pt-BR" sz="2000" dirty="0">
              <a:solidFill>
                <a:schemeClr val="tx1"/>
              </a:solidFill>
              <a:latin typeface="Latam Sans" panose="020B0505030403020204"/>
            </a:endParaRPr>
          </a:p>
        </p:txBody>
      </p:sp>
      <p:sp>
        <p:nvSpPr>
          <p:cNvPr id="30" name="Seta para a direita 29"/>
          <p:cNvSpPr/>
          <p:nvPr/>
        </p:nvSpPr>
        <p:spPr>
          <a:xfrm>
            <a:off x="5889884" y="5508339"/>
            <a:ext cx="611106" cy="423415"/>
          </a:xfrm>
          <a:prstGeom prst="rightArrow">
            <a:avLst/>
          </a:prstGeom>
          <a:solidFill>
            <a:srgbClr val="ED1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03984" y="5211964"/>
            <a:ext cx="6296777" cy="640587"/>
          </a:xfrm>
        </p:spPr>
        <p:txBody>
          <a:bodyPr anchor="ctr"/>
          <a:lstStyle/>
          <a:p>
            <a:pPr marL="177800" algn="ctr"/>
            <a:r>
              <a:rPr lang="pt-BR" sz="2000" b="0" dirty="0">
                <a:solidFill>
                  <a:srgbClr val="280087"/>
                </a:solidFill>
                <a:latin typeface="Latam Sans" panose="020B0505030403020204" pitchFamily="34" charset="0"/>
              </a:rPr>
              <a:t> </a:t>
            </a:r>
            <a:r>
              <a:rPr lang="pt-BR" sz="2000" b="0" dirty="0">
                <a:solidFill>
                  <a:schemeClr val="tx1"/>
                </a:solidFill>
                <a:latin typeface="Latam Sans" panose="020B0505030403020204"/>
              </a:rPr>
              <a:t>Passageiros aderiram às </a:t>
            </a:r>
            <a:r>
              <a:rPr lang="pt-BR" sz="2000" dirty="0">
                <a:solidFill>
                  <a:schemeClr val="tx1"/>
                </a:solidFill>
                <a:latin typeface="Latam Sans" panose="020B0505030403020204" pitchFamily="34" charset="0"/>
              </a:rPr>
              <a:t>NOVAS OPÇÕES </a:t>
            </a:r>
            <a:br>
              <a:rPr lang="pt-BR" sz="2000" b="0" dirty="0">
                <a:solidFill>
                  <a:srgbClr val="280087"/>
                </a:solidFill>
                <a:latin typeface="Latam Sans" panose="020B0505030403020204" pitchFamily="34" charset="0"/>
              </a:rPr>
            </a:br>
            <a:r>
              <a:rPr lang="pt-BR" sz="2000" b="0" dirty="0">
                <a:solidFill>
                  <a:schemeClr val="tx1"/>
                </a:solidFill>
                <a:latin typeface="Latam Sans" panose="020B0505030403020204" pitchFamily="34" charset="0"/>
              </a:rPr>
              <a:t>e estão escolhendo </a:t>
            </a:r>
            <a:br>
              <a:rPr lang="pt-BR" sz="2000" b="0" dirty="0">
                <a:solidFill>
                  <a:srgbClr val="280087"/>
                </a:solidFill>
                <a:latin typeface="Latam Sans" panose="020B0505030403020204" pitchFamily="34" charset="0"/>
              </a:rPr>
            </a:br>
            <a:r>
              <a:rPr lang="pt-BR" sz="2000" dirty="0">
                <a:solidFill>
                  <a:schemeClr val="tx1"/>
                </a:solidFill>
                <a:latin typeface="Latam Sans" panose="020B0505030403020204" pitchFamily="34" charset="0"/>
              </a:rPr>
              <a:t>TARIFAS MAIS ECONÔMICAS</a:t>
            </a:r>
          </a:p>
        </p:txBody>
      </p:sp>
    </p:spTree>
    <p:extLst>
      <p:ext uri="{BB962C8B-B14F-4D97-AF65-F5344CB8AC3E}">
        <p14:creationId xmlns:p14="http://schemas.microsoft.com/office/powerpoint/2010/main" val="4289775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" name="Slide do think-cell" r:id="rId38" imgW="421" imgH="423" progId="TCLayout.ActiveDocument.1">
                  <p:embed/>
                </p:oleObj>
              </mc:Choice>
              <mc:Fallback>
                <p:oleObj name="Slide do think-cell" r:id="rId3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9819" y="60211"/>
            <a:ext cx="10290906" cy="640587"/>
          </a:xfrm>
        </p:spPr>
        <p:txBody>
          <a:bodyPr anchor="ctr"/>
          <a:lstStyle/>
          <a:p>
            <a:pPr defTabSz="565876"/>
            <a:r>
              <a:rPr lang="pt-BR" sz="2800" kern="1200" dirty="0">
                <a:solidFill>
                  <a:schemeClr val="tx1"/>
                </a:solidFill>
                <a:latin typeface="Latam Sans" panose="020B0505030403020204" pitchFamily="34" charset="0"/>
              </a:rPr>
              <a:t>Mudança brusca no setor aéreo</a:t>
            </a:r>
          </a:p>
        </p:txBody>
      </p:sp>
      <p:sp>
        <p:nvSpPr>
          <p:cNvPr id="33" name="CaixaDeTexto 5"/>
          <p:cNvSpPr txBox="1"/>
          <p:nvPr/>
        </p:nvSpPr>
        <p:spPr>
          <a:xfrm>
            <a:off x="-214238" y="6493411"/>
            <a:ext cx="113186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65876" marR="0" lvl="1" indent="0" algn="l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650"/>
              </a:buClr>
              <a:buSzTx/>
              <a:buFontTx/>
              <a:buNone/>
              <a:tabLst/>
              <a:defRPr/>
            </a:pP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Latam Sans" panose="020B0505030403020204" pitchFamily="34" charset="0"/>
                <a:ea typeface="+mn-ea"/>
                <a:cs typeface="+mn-cs"/>
              </a:rPr>
              <a:t>Fonte: LATAM</a:t>
            </a:r>
          </a:p>
        </p:txBody>
      </p:sp>
      <p:graphicFrame>
        <p:nvGraphicFramePr>
          <p:cNvPr id="78" name="Chart 3"/>
          <p:cNvGraphicFramePr/>
          <p:nvPr>
            <p:custDataLst>
              <p:tags r:id="rId4"/>
            </p:custDataLst>
          </p:nvPr>
        </p:nvGraphicFramePr>
        <p:xfrm>
          <a:off x="609600" y="1727200"/>
          <a:ext cx="11045825" cy="405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13" name="Conector reto 12"/>
          <p:cNvCxnSpPr/>
          <p:nvPr>
            <p:custDataLst>
              <p:tags r:id="rId5"/>
            </p:custDataLst>
          </p:nvPr>
        </p:nvCxnSpPr>
        <p:spPr bwMode="auto">
          <a:xfrm flipV="1">
            <a:off x="5588000" y="18907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6"/>
            </p:custDataLst>
          </p:nvPr>
        </p:nvCxnSpPr>
        <p:spPr bwMode="auto">
          <a:xfrm>
            <a:off x="5588000" y="1890713"/>
            <a:ext cx="3263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7"/>
            </p:custDataLst>
          </p:nvPr>
        </p:nvCxnSpPr>
        <p:spPr bwMode="auto">
          <a:xfrm>
            <a:off x="8851900" y="1890714"/>
            <a:ext cx="0" cy="8048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hape 7"/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66925" y="5754688"/>
            <a:ext cx="514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BAB891C-0170-48E2-9C3D-D35207FFD496}" type="datetime'''''''Ja''''''n''''''''''''''''''''''''''''''''1''''''''''9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Jan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01" name="Shape 7"/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31875" y="515937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1D54F59-A6AB-45E0-9EA8-B7AE70E2B0EE}" type="datetime'''''''''''''''2''''''4''''''''''''''''''%''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4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73" name="Shape 7"/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704263" y="2733675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ADB47F54-9364-4E7F-A244-F1D49FE0E8DA}" type="datetime'''3'',''''''''''''''''''9''''''''''''''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,9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24" name="Shape 7"/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1875" y="575468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F86981C-C870-43CF-A18A-BFEDDAD241F1}" type="datetime'''''''''''''''''''''''''2''''''0''1''''''''''''8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018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08" name="Shape 7"/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97363" y="5195888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E90A03B9-82BD-420A-841A-8A8FE5D356E1}" type="datetime'''''''''''''''''''''''''''''''''''''''''''2''''''3''''%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3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32" name="Shape 7"/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76463" y="1592263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0A87086-B626-4B78-B307-2F5E3E921723}" type="datetime'''''''''5,''''''''''''''''''''''''''''''''''''6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,6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06" name="Shape 7"/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20900" y="517207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A82B1EF3-E1E3-40DC-B446-25C07A3F11C6}" type="datetime'''''2''''''2''''''''''''''''''''%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2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07" name="Shape 7"/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208338" y="522287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C52BA3-77CB-4B64-A6F0-0B8E715B5E3D}" type="datetime'''''''''''2''''3''''''''''''''''%''''''''''''''''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3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1" name="Shape 7"/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555163" y="5754688"/>
            <a:ext cx="771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F6AD721-1C96-452E-B3D3-E380DDC4D5A9}" type="datetime'''S''1'''''''''''''''' ''''M''''ai''''''1''9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1 Mai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27" name="Shape 7"/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154363" y="5754688"/>
            <a:ext cx="514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C4B7A45-35F6-4FD6-9D06-6A4C4F08C8E2}" type="datetime'''''''''''''F''''''''''e''''v''''''''''''''''19''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Fev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47" name="Shape 7"/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238625" y="5754688"/>
            <a:ext cx="525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BE6FDC8-30EC-440F-8CE3-B1E14EBA2DAF}" type="datetime'''''''''''''M''''''''a''''r''1''''''''''''''''''9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Mar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09" name="Shape 7"/>
          <p:cNvSpPr txBox="1"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84800" y="5237163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5F05D30-11BC-41D4-8332-64C481288507}" type="datetime'''''''''2''''''''1''''''%''''''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1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50" name="Shape 7"/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197475" y="5754688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ABF9342-293C-4F0F-83BC-CA00722A7F55}" type="datetime'''''''''''''''''''S''1'''''''''' ''''''Ab''''r''''19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1 Abr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71" name="Shape 7"/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616825" y="2571750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030F4BC-2FCB-4475-9750-33770F8548E7}" type="datetime'4'''''''''''''''',''''''''''''''''''''''''''''''''''''2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,2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10" name="Shape 7"/>
          <p:cNvSpPr txBox="1"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472238" y="5397500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8F7AC15-350B-4A48-B169-4E69EE623F59}" type="datetime'''''''''''''''''''''''''''''''''''''''''''13''''''%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11" name="Shape 7"/>
          <p:cNvSpPr txBox="1"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10475" y="5519738"/>
            <a:ext cx="307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C2FDBC9-8CBB-489B-A344-F0CADFAD3ADB}" type="datetime'''''''6''''''''''''''''''''%''''''''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53" name="Shape 7"/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84913" y="5754688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264F29F-78C3-435F-8417-6A2F2BD28FAE}" type="datetime'''S2 Abr''''''19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2 Abr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56" name="Shape 7"/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373938" y="5754688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D5EEA75C-BE77-4E79-86B6-C4B05331179B}" type="datetime'''''S''''3'' A''b''r''1''''''''''''''''''9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3 Abr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59" name="Shape 7"/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61375" y="5754688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D522542-62D7-47FB-BA93-C187EE64A360}" type="datetime'''S''''4 ''''''A''''''''''''''b''''''''''''''r''''''''19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4 Abr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34" name="Shape 7"/>
          <p:cNvSpPr txBox="1"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263900" y="2128838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965C444-0AF4-4D94-B485-AA8F4E489884}" type="datetime'4'''''''''',''''''''''''''''''8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,8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31" name="Shape 7"/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87438" y="1863725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29B10851-0E35-436F-B8D2-3AA04890F6B6}" type="datetime'''''''''''''''''''''''''''5'''''',''''''''''''2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,2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5" name="Shape 7"/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352925" y="1925638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D2E2EB52-077E-46BE-BCA8-1CE023741ABD}" type="datetime'''''5'''''''''''''''',''''''''''''''''1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,1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7" name="Shape 7"/>
          <p:cNvSpPr txBox="1"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440363" y="2005013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ACEB55F-4503-4F03-8B59-3CC7CD09FDF2}" type="datetime'''''5'''''''''',''0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,0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9" name="Shape 7"/>
          <p:cNvSpPr txBox="1"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527800" y="2328863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2B7307A5-FB0E-4EFA-80DA-68ED569FFC3B}" type="datetime'''''''''''''''''4'''''''''''''''',5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,5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2" name="Shape 7"/>
          <p:cNvSpPr txBox="1"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793288" y="2733675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56CC3B4-67B0-4437-85ED-8B3AAAC5A11A}" type="datetime'''''''''3,''''''''''''9''''''''''''''''''''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,9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4" name="Shape 7"/>
          <p:cNvSpPr txBox="1"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642600" y="5754688"/>
            <a:ext cx="771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73CA787-157F-4319-8EA3-1F69849D6BB9}" type="datetime'S''2 ''''''''''''''''''''''M''''a''''''''''''i1''9''''''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2 Mai19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66" name="Shape 7"/>
          <p:cNvSpPr txBox="1"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880725" y="2733675"/>
            <a:ext cx="296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AC0B7EEA-89F6-4F2E-9E47-490942CA3C0F}" type="datetime'''''''''''''''''''3,''''''''''9'''''''''''''''''''''''''''''''">
              <a:rPr kumimoji="0" lang="pt-BR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pPr marL="0" marR="0" lvl="0" indent="0" algn="ctr" defTabSz="5658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,9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sp>
        <p:nvSpPr>
          <p:cNvPr id="113" name="Shape 7"/>
          <p:cNvSpPr txBox="1"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926263" y="1739900"/>
            <a:ext cx="587375" cy="30162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spcFirstLastPara="1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046A8FE-9A16-4E8A-8BD7-5B6AFABE4191}" type="datetime'''''''-''''''''''2''''''''1''''''''''''''''''''''''%'''''">
              <a:rPr kumimoji="0" lang="pt-BR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5658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21%</a:t>
            </a:fld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+mn-lt"/>
            </a:endParaRPr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6104532" y="1362236"/>
            <a:ext cx="0" cy="4857750"/>
          </a:xfrm>
          <a:prstGeom prst="line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ta para a Direita 10"/>
          <p:cNvSpPr/>
          <p:nvPr/>
        </p:nvSpPr>
        <p:spPr>
          <a:xfrm>
            <a:off x="5969344" y="1297229"/>
            <a:ext cx="384175" cy="247650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6481906" y="1213577"/>
            <a:ext cx="1768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Início cancelamentos pontuais Avianca</a:t>
            </a:r>
          </a:p>
        </p:txBody>
      </p:sp>
      <p:sp>
        <p:nvSpPr>
          <p:cNvPr id="120" name="Texto Explicativo Retangular 119"/>
          <p:cNvSpPr/>
          <p:nvPr/>
        </p:nvSpPr>
        <p:spPr>
          <a:xfrm>
            <a:off x="8476120" y="671302"/>
            <a:ext cx="2628295" cy="860344"/>
          </a:xfrm>
          <a:prstGeom prst="wedgeRectCallout">
            <a:avLst>
              <a:gd name="adj1" fmla="val -34279"/>
              <a:gd name="adj2" fmla="val 7306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am Sans" panose="020B0505030403020204"/>
              </a:rPr>
              <a:t>Indústria onde Avianca operava tem queda de 20% na oferta em 3 semanas</a:t>
            </a:r>
          </a:p>
        </p:txBody>
      </p:sp>
      <p:sp>
        <p:nvSpPr>
          <p:cNvPr id="124" name="Elipse 123"/>
          <p:cNvSpPr/>
          <p:nvPr/>
        </p:nvSpPr>
        <p:spPr>
          <a:xfrm>
            <a:off x="3357165" y="4363964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Elipse 124"/>
          <p:cNvSpPr/>
          <p:nvPr/>
        </p:nvSpPr>
        <p:spPr>
          <a:xfrm>
            <a:off x="2288345" y="4124660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6" name="Conector reto 125"/>
          <p:cNvCxnSpPr>
            <a:stCxn id="125" idx="6"/>
            <a:endCxn id="124" idx="2"/>
          </p:cNvCxnSpPr>
          <p:nvPr/>
        </p:nvCxnSpPr>
        <p:spPr>
          <a:xfrm>
            <a:off x="2432345" y="4196660"/>
            <a:ext cx="924820" cy="239304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CaixaDeTexto 126"/>
          <p:cNvSpPr txBox="1"/>
          <p:nvPr/>
        </p:nvSpPr>
        <p:spPr>
          <a:xfrm>
            <a:off x="2995819" y="3947077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4,2%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1870849" y="3738383"/>
            <a:ext cx="783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,5%</a:t>
            </a:r>
          </a:p>
        </p:txBody>
      </p:sp>
      <p:sp>
        <p:nvSpPr>
          <p:cNvPr id="132" name="Elipse 131"/>
          <p:cNvSpPr/>
          <p:nvPr/>
        </p:nvSpPr>
        <p:spPr>
          <a:xfrm>
            <a:off x="4447457" y="4626405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3" name="Conector reto 132"/>
          <p:cNvCxnSpPr>
            <a:stCxn id="124" idx="5"/>
            <a:endCxn id="132" idx="2"/>
          </p:cNvCxnSpPr>
          <p:nvPr/>
        </p:nvCxnSpPr>
        <p:spPr>
          <a:xfrm>
            <a:off x="3480077" y="4486876"/>
            <a:ext cx="967380" cy="211529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CaixaDeTexto 137"/>
          <p:cNvSpPr txBox="1"/>
          <p:nvPr/>
        </p:nvSpPr>
        <p:spPr>
          <a:xfrm>
            <a:off x="4193973" y="4192781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3,9%</a:t>
            </a:r>
          </a:p>
        </p:txBody>
      </p:sp>
      <p:sp>
        <p:nvSpPr>
          <p:cNvPr id="139" name="Elipse 138"/>
          <p:cNvSpPr/>
          <p:nvPr/>
        </p:nvSpPr>
        <p:spPr>
          <a:xfrm>
            <a:off x="5541327" y="4923931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Elipse 139"/>
          <p:cNvSpPr/>
          <p:nvPr/>
        </p:nvSpPr>
        <p:spPr>
          <a:xfrm>
            <a:off x="6628006" y="4639549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Elipse 140"/>
          <p:cNvSpPr/>
          <p:nvPr/>
        </p:nvSpPr>
        <p:spPr>
          <a:xfrm>
            <a:off x="7703730" y="3768162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Elipse 141"/>
          <p:cNvSpPr/>
          <p:nvPr/>
        </p:nvSpPr>
        <p:spPr>
          <a:xfrm>
            <a:off x="8791612" y="3910900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3" name="Conector reto 142"/>
          <p:cNvCxnSpPr>
            <a:stCxn id="132" idx="6"/>
            <a:endCxn id="139" idx="2"/>
          </p:cNvCxnSpPr>
          <p:nvPr/>
        </p:nvCxnSpPr>
        <p:spPr>
          <a:xfrm>
            <a:off x="4591457" y="4698405"/>
            <a:ext cx="949870" cy="297526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ector reto 144"/>
          <p:cNvCxnSpPr>
            <a:stCxn id="139" idx="6"/>
            <a:endCxn id="140" idx="2"/>
          </p:cNvCxnSpPr>
          <p:nvPr/>
        </p:nvCxnSpPr>
        <p:spPr>
          <a:xfrm flipV="1">
            <a:off x="5685327" y="4711549"/>
            <a:ext cx="942679" cy="284382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ector reto 147"/>
          <p:cNvCxnSpPr>
            <a:stCxn id="140" idx="7"/>
            <a:endCxn id="141" idx="2"/>
          </p:cNvCxnSpPr>
          <p:nvPr/>
        </p:nvCxnSpPr>
        <p:spPr>
          <a:xfrm flipV="1">
            <a:off x="6750918" y="3840162"/>
            <a:ext cx="952812" cy="820475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ector reto 150"/>
          <p:cNvCxnSpPr>
            <a:stCxn id="141" idx="6"/>
            <a:endCxn id="142" idx="2"/>
          </p:cNvCxnSpPr>
          <p:nvPr/>
        </p:nvCxnSpPr>
        <p:spPr>
          <a:xfrm>
            <a:off x="7847730" y="3840162"/>
            <a:ext cx="943882" cy="142738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CaixaDeTexto 153"/>
          <p:cNvSpPr txBox="1"/>
          <p:nvPr/>
        </p:nvSpPr>
        <p:spPr>
          <a:xfrm>
            <a:off x="5197475" y="4489502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,7%</a:t>
            </a:r>
          </a:p>
        </p:txBody>
      </p:sp>
      <p:sp>
        <p:nvSpPr>
          <p:cNvPr id="155" name="CaixaDeTexto 154"/>
          <p:cNvSpPr txBox="1"/>
          <p:nvPr/>
        </p:nvSpPr>
        <p:spPr>
          <a:xfrm>
            <a:off x="6166350" y="4264303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3,8%</a:t>
            </a:r>
          </a:p>
        </p:txBody>
      </p:sp>
      <p:sp>
        <p:nvSpPr>
          <p:cNvPr id="156" name="CaixaDeTexto 155"/>
          <p:cNvSpPr txBox="1"/>
          <p:nvPr/>
        </p:nvSpPr>
        <p:spPr>
          <a:xfrm>
            <a:off x="7616825" y="3409473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7,2%</a:t>
            </a:r>
          </a:p>
        </p:txBody>
      </p:sp>
      <p:sp>
        <p:nvSpPr>
          <p:cNvPr id="157" name="CaixaDeTexto 156"/>
          <p:cNvSpPr txBox="1"/>
          <p:nvPr/>
        </p:nvSpPr>
        <p:spPr>
          <a:xfrm>
            <a:off x="8648302" y="3561656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,7%</a:t>
            </a:r>
          </a:p>
        </p:txBody>
      </p:sp>
      <p:sp>
        <p:nvSpPr>
          <p:cNvPr id="158" name="Texto Explicativo Retangular 157"/>
          <p:cNvSpPr/>
          <p:nvPr/>
        </p:nvSpPr>
        <p:spPr>
          <a:xfrm>
            <a:off x="7183654" y="4479701"/>
            <a:ext cx="2385102" cy="860344"/>
          </a:xfrm>
          <a:prstGeom prst="wedgeRectCallout">
            <a:avLst>
              <a:gd name="adj1" fmla="val -33760"/>
              <a:gd name="adj2" fmla="val -9191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am Sans" panose="020B0505030403020204"/>
              </a:rPr>
              <a:t>Ocupação voos LATAM passam 87%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am Sans" panose="020B0505030403020204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am Sans" panose="020B0505030403020204"/>
              </a:rPr>
              <a:t>maior que alta temporada</a:t>
            </a:r>
          </a:p>
        </p:txBody>
      </p:sp>
      <p:sp>
        <p:nvSpPr>
          <p:cNvPr id="159" name="CaixaDeTexto 158"/>
          <p:cNvSpPr txBox="1"/>
          <p:nvPr/>
        </p:nvSpPr>
        <p:spPr>
          <a:xfrm>
            <a:off x="609600" y="717622"/>
            <a:ext cx="6388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Principais mercados onde Avianca operava voos regularmente até abril</a:t>
            </a:r>
          </a:p>
        </p:txBody>
      </p:sp>
      <p:sp>
        <p:nvSpPr>
          <p:cNvPr id="160" name="CaixaDeTexto 159"/>
          <p:cNvSpPr txBox="1"/>
          <p:nvPr/>
        </p:nvSpPr>
        <p:spPr>
          <a:xfrm>
            <a:off x="691178" y="1200965"/>
            <a:ext cx="61042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Oferta  de assentos</a:t>
            </a:r>
            <a:r>
              <a:rPr kumimoji="0" lang="pt-BR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 -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ASKs (em bi)</a:t>
            </a:r>
          </a:p>
        </p:txBody>
      </p:sp>
      <p:sp>
        <p:nvSpPr>
          <p:cNvPr id="82" name="Elipse 81"/>
          <p:cNvSpPr/>
          <p:nvPr/>
        </p:nvSpPr>
        <p:spPr>
          <a:xfrm>
            <a:off x="9849277" y="4674495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Elipse 82"/>
          <p:cNvSpPr/>
          <p:nvPr/>
        </p:nvSpPr>
        <p:spPr>
          <a:xfrm>
            <a:off x="10952027" y="4923386"/>
            <a:ext cx="144000" cy="144000"/>
          </a:xfrm>
          <a:prstGeom prst="ellipse">
            <a:avLst/>
          </a:prstGeom>
          <a:solidFill>
            <a:schemeClr val="accent1"/>
          </a:solidFill>
          <a:ln>
            <a:solidFill>
              <a:srgbClr val="280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2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6" name="Conector reto 85"/>
          <p:cNvCxnSpPr>
            <a:stCxn id="142" idx="6"/>
            <a:endCxn id="82" idx="1"/>
          </p:cNvCxnSpPr>
          <p:nvPr/>
        </p:nvCxnSpPr>
        <p:spPr>
          <a:xfrm>
            <a:off x="8935612" y="3982900"/>
            <a:ext cx="934753" cy="712683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to 88"/>
          <p:cNvCxnSpPr>
            <a:stCxn id="82" idx="6"/>
            <a:endCxn id="83" idx="2"/>
          </p:cNvCxnSpPr>
          <p:nvPr/>
        </p:nvCxnSpPr>
        <p:spPr>
          <a:xfrm>
            <a:off x="9993277" y="4746495"/>
            <a:ext cx="958750" cy="248891"/>
          </a:xfrm>
          <a:prstGeom prst="line">
            <a:avLst/>
          </a:prstGeom>
          <a:ln w="38100">
            <a:solidFill>
              <a:srgbClr val="280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aixaDeTexto 91"/>
          <p:cNvSpPr txBox="1"/>
          <p:nvPr/>
        </p:nvSpPr>
        <p:spPr>
          <a:xfrm>
            <a:off x="9691668" y="4305009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3,2%</a:t>
            </a:r>
          </a:p>
        </p:txBody>
      </p:sp>
      <p:sp>
        <p:nvSpPr>
          <p:cNvPr id="93" name="CaixaDeTexto 92"/>
          <p:cNvSpPr txBox="1"/>
          <p:nvPr/>
        </p:nvSpPr>
        <p:spPr>
          <a:xfrm>
            <a:off x="10819133" y="4612786"/>
            <a:ext cx="831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B00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,5%</a:t>
            </a:r>
          </a:p>
        </p:txBody>
      </p:sp>
      <p:sp>
        <p:nvSpPr>
          <p:cNvPr id="72" name="CaixaDeTexto 71"/>
          <p:cNvSpPr txBox="1"/>
          <p:nvPr/>
        </p:nvSpPr>
        <p:spPr>
          <a:xfrm>
            <a:off x="788307" y="6129078"/>
            <a:ext cx="1768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65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am Sans" panose="020B0505030403020204"/>
              </a:rPr>
              <a:t>Avianca</a:t>
            </a:r>
          </a:p>
        </p:txBody>
      </p:sp>
      <p:sp>
        <p:nvSpPr>
          <p:cNvPr id="5" name="Retângulo 4"/>
          <p:cNvSpPr/>
          <p:nvPr/>
        </p:nvSpPr>
        <p:spPr>
          <a:xfrm>
            <a:off x="704122" y="6206785"/>
            <a:ext cx="114780" cy="121583"/>
          </a:xfrm>
          <a:prstGeom prst="rect">
            <a:avLst/>
          </a:prstGeom>
          <a:solidFill>
            <a:srgbClr val="991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651023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rD43jBR_GQ5QNk1B8p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m2eVQTXKN3nd22ivFf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g5rj4S5yg7Ji_bRYV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Nm.tSsaOX4jM9T15q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0UO5JQLWl2AdHqBTgm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TKaJURde60ZQN_res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VqhWYQ2aNAWL0jr6p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9flSTiikNxwohZSd9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HRztJpTK2VXkdb8c8j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64YCFSJWt.nK.DHBc1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_sCjCRxGy12XrZNfw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VEtAZTaOeIDt65p_g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M6QSZTGax8Fpa3n4I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2_a_ZDTXuYHHVyqbPD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1lJBRZaUPJMZtlks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fJO4jTC.enjXNIAde.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tbRUdSpanxQRyIdUas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3Ta8LQLeM9BXupOfw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N_WmGqQB6_6fcVcE0b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QctU_QdWzpwEWphmuh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6ruKgoT4eeGLG6896l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vwWuDETD6e.7WXmXYtp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2mkN5TQe.XL7VQZGil1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TF3tvS1y7ZSVRlU06W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aGmSPQ.iJmlPpDpZt.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sUESRS0GlUxT62GFNC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s.VQ4R_i_nST.Xtgu9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mWfFOTymw_7sTKEjb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KOVb1RF6Xwcmf8HoMq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A6axxToWKJ1HBhyPh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K9Qe1TIu.0BHKNFRW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zPKQ.SU6qGnQx24esj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.NjwNQFGL9_GfGyZBs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iRK3ORvm3WG2dvkqD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aocm.RBqCAf50bpaK3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pFOnQq.kWjw.6K.Wh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H.gGBSMWv34paT1I5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9NaVRL2oTp0F3a6VG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usqRfS4SehKC3l9xu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6xamDQFeG0J0cgmc5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_0ZVWQ7WNM6JtLZ4pZ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x_xDNSF.Y_aA0OfeO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Lhhv7uShiwPZS8cqaWZ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VqhWYQ2aNAWL0jr6pb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m2eVQTXKN3nd22ivFf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sUESRS0GlUxT62GFNC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g5rj4S5yg7Ji_bRYVN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2_a_ZDTXuYHHVyqbPDY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TKaJURde60ZQN_resF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_sCjCRxGy12XrZNfwK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9flSTiikNxwohZSd9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Nm.tSsaOX4jM9T15q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64YCFSJWt.nK.DHBc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Xkkg8T52OQVOMO_jL4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M6QSZTGax8Fpa3n4IN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1lJBRZaUPJMZtlkso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fJO4jTC.enjXNIAde.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N_WmGqQB6_6fcVcE0bz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0UO5JQLWl2AdHqBTgm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VEtAZTaOeIDt65p_g0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2mkN5TQe.XL7VQZGil1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tbRUdSpanxQRyIdUa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3Ta8LQLeM9BXupOfwh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5S8zalQieJkPukWhuZ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8ss545TpOBiWSuW0GmX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QctU_QdWzpwEWphmuh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TF3tvS1y7ZSVRlU06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6ruKgoT4eeGLG6896l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aGmSPQ.iJmlPpDpZt.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HRztJpTK2VXkdb8c8j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s.VQ4R_i_nST.Xtgu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mWfFOTymw_7sTKEjb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KOVb1RF6Xwcmf8HoMq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A6axxToWKJ1HBhyPh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uCdOyQb.7F58h5qObw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x8bplOTNmfr4BGiSyw8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iRK3ORvm3WG2dvkqDm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aocm.RBqCAf50bpaK3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H.gGBSMWv34paT1I5x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6xamDQFeG0J0cgmc5f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9NaVRL2oTp0F3a6VG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usqRfS4SehKC3l9xuD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.NjwNQFGL9_GfGyZBs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pFOnQq.kWjw.6K.Wh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_0ZVWQ7WNM6JtLZ4p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Gr1sKQgiChbgIA29lc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ECWkA.TVipmT2TdL1V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2mkN5TQe.XL7VQZGil1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tbRUdSpanxQRyIdUas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TKaJURde60ZQN_res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0UO5JQLWl2AdHqBTgm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s.VQ4R_i_nST.Xtgu9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_sCjCRxGy12XrZNfwK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m2eVQTXKN3nd22ivFf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g5rj4S5yg7Ji_bRYVN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64YCFSJWt.nK.DHBc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Gx0SZR8Gek5ndTSHa0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VEtAZTaOeIDt65p_g0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VqhWYQ2aNAWL0jr6pb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M6QSZTGax8Fpa3n4I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9flSTiikNxwohZSd9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2_a_ZDTXuYHHVyqbPDY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1lJBRZaUPJMZtlks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KOVb1RF6Xwcmf8HoMq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6ruKgoT4eeGLG6896le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fJO4jTC.enjXNIAde.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3Ta8LQLeM9BXupOfw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RTM4QSWy_UdvYPKMOb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N_WmGqQB6_6fcVcE0bz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QctU_QdWzpwEWphmuh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TF3tvS1y7ZSVRlU06W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aGmSPQ.iJmlPpDpZt.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5S8zalQieJkPukWhuZB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HRztJpTK2VXkdb8c8j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sUESRS0GlUxT62GFNC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mWfFOTymw_7sTKEjb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Nm.tSsaOX4jM9T15q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8q_bzbTnOqpjCPLzXc.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A6axxToWKJ1HBhyPhp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xv58nTVeZ6fL_lASFV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H.gGBSMWv34paT1I5x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aocm.RBqCAf50bpaK3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iRK3ORvm3WG2dvkqDm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9NaVRL2oTp0F3a6V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.NjwNQFGL9_GfGyZB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6xamDQFeG0J0cgmc5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usqRfS4SehKC3l9xuD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pFOnQq.kWjw.6K.W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CdUNUWTMOnEubGVrYRi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_0ZVWQ7WNM6JtLZ4pZ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BCrbLR1qPLEDieEHY_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64YCFSJWt.nK.DHBc1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2_a_ZDTXuYHHVyqbPDY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VqhWYQ2aNAWL0jr6p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VEtAZTaOeIDt65p_g0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g5rj4S5yg7Ji_bRYVN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1lJBRZaUPJMZtlks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m2eVQTXKN3nd22ivFf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TKaJURde60ZQN_res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7FNktnSkCgKh5bpHyQl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9flSTiikNxwohZSd9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aGmSPQ.iJmlPpDpZt.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_sCjCRxGy12XrZNfwK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M6QSZTGax8Fpa3n4IN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TF3tvS1y7ZSVRlU06W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fJO4jTC.enjXNIAde.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2mkN5TQe.XL7VQZGil1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tbRUdSpanxQRyIdUas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3Ta8LQLeM9BXupOfw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0UO5JQLWl2AdHqBTg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_b0C_HS8._nwXpsa1Vt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N_WmGqQB6_6fcVcE0bz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Nm.tSsaOX4jM9T15q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QctU_QdWzpwEWphmuh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6ruKgoT4eeGLG6896le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5S8zalQieJkPukWhuZB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HRztJpTK2VXkdb8c8jG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sUESRS0GlUxT62GFNC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s.VQ4R_i_nST.Xtgu9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mWfFOTymw_7sTKEjbf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KOVb1RF6Xwcmf8HoM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ICm4nMR9iGRaXtFp53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UB6x70QrSHRf12HGdD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bHrJEtRvy5SaTxiXer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nEjWlSA6IifgEOVWu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XWB89PSHCqXzW9.LUd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AE8E2kQR.eF0rnAV1m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9JREsSQKWZnL3Nu6fa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onqMiTRASIDkZ1hgjU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2siLT6RTigJIT2cxB3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ddtuyUR_KnFDK8B83X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r9I9FARlyY2kleDpNB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c3Xxj5QcOgHAi0ltez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8drdGDQtqoePj7KFlP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sFepWhSVW109JmkSvy2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BkIJITyWAymyGFCFn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4Jc2J8SeGIV2R2Hg6h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eUgxQTYaYl6gOZ9oh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BlvIxwQ.Oun2laomuN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7OL16Q1a0qib_VQdE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FDRtuLQWGvvvqHKUxL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A6axxToWKJ1HBhyPh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lS0MujSCi6y5ZGJDTG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aocm.RBqCAf50bpaK3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H.gGBSMWv34paT1I5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iRK3ORvm3WG2dvkqD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9NaVRL2oTp0F3a6V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.NjwNQFGL9_GfGyZB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6xamDQFeG0J0cgmc5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usqRfS4SehKC3l9xu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pFOnQq.kWjw.6K.W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_0ZVWQ7WNM6JtLZ4p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oRHb3Tn23mVhbVmZF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tbRUdSpanxQRyIdUa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m2eVQTXKN3nd22ivF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g5rj4S5yg7Ji_bRYV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TKaJURde60ZQN_res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64YCFSJWt.nK.DHBc1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PVqhWYQ2aNAWL0jr6p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_sCjCRxGy12XrZNfw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M6QSZTGax8Fpa3n4I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9flSTiikNxwohZSd9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fJO4jTC.enjXNIAde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2_a_ZDTXuYHHVyqbPDY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1lJBRZaUPJMZtlks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VEtAZTaOeIDt65p_g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3Ta8LQLeM9BXupOfw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N_WmGqQB6_6fcVcE0b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0UO5JQLWl2AdHqBTg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QctU_QdWzpwEWphmu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6ruKgoT4eeGLG6896l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2mkN5TQe.XL7VQZGil1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TF3tvS1y7ZSVRlU06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aGmSPQ.iJmlPpDpZt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5S8zalQieJkPukWhuZ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WEVDDRZ.qN.80Myeog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HRztJpTK2VXkdb8c8j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sUESRS0GlUxT62GFN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s.VQ4R_i_nST.Xtgu9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mWfFOTymw_7sTKEjb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Nm.tSsaOX4jM9T15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KOVb1RF6Xwcmf8HoM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A6axxToWKJ1HBhyPh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PMqKsCTtOpcsq3EAw.K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pFOnQq.kWjw.6K.W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aocm.RBqCAf50bpaK3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usqRfS4SehKC3l9xu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9NaVRL2oTp0F3a6V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H.gGBSMWv34paT1I5x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iRK3ORvm3WG2dvkqD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6xamDQFeG0J0cgmc5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.NjwNQFGL9_GfGyZB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_0ZVWQ7WNM6JtLZ4p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95iXhTx2W9nuMgUxer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5S8zalQieJkPukWhuZBQ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4_#4 Template 8.30.16.01">
  <a:themeElements>
    <a:clrScheme name="#4 Template 8.30.16.0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1B0088"/>
      </a:accent1>
      <a:accent2>
        <a:srgbClr val="ED1650"/>
      </a:accent2>
      <a:accent3>
        <a:srgbClr val="00B5AD"/>
      </a:accent3>
      <a:accent4>
        <a:srgbClr val="99CC33"/>
      </a:accent4>
      <a:accent5>
        <a:srgbClr val="99127F"/>
      </a:accent5>
      <a:accent6>
        <a:srgbClr val="FFFF33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/field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32</TotalTime>
  <Words>1331</Words>
  <Application>Microsoft Office PowerPoint</Application>
  <PresentationFormat>Widescreen</PresentationFormat>
  <Paragraphs>458</Paragraphs>
  <Slides>16</Slides>
  <Notes>16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6</vt:i4>
      </vt:variant>
    </vt:vector>
  </HeadingPairs>
  <TitlesOfParts>
    <vt:vector size="27" baseType="lpstr">
      <vt:lpstr>Arial</vt:lpstr>
      <vt:lpstr>Calibri</vt:lpstr>
      <vt:lpstr>Helvetica Neue</vt:lpstr>
      <vt:lpstr>Latam Sans</vt:lpstr>
      <vt:lpstr>Tahoma</vt:lpstr>
      <vt:lpstr>Trebuchet MS</vt:lpstr>
      <vt:lpstr>Wingdings</vt:lpstr>
      <vt:lpstr>Office Theme</vt:lpstr>
      <vt:lpstr>4_#4 Template 8.30.16.01</vt:lpstr>
      <vt:lpstr>Slide do think-cell</vt:lpstr>
      <vt:lpstr>Diapositiva de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Daniela Martins</cp:lastModifiedBy>
  <cp:revision>1353</cp:revision>
  <cp:lastPrinted>2019-05-20T12:56:48Z</cp:lastPrinted>
  <dcterms:created xsi:type="dcterms:W3CDTF">2010-04-12T23:12:02Z</dcterms:created>
  <dcterms:modified xsi:type="dcterms:W3CDTF">2019-06-06T11:33:3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